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</p:sldMasterIdLst>
  <p:notesMasterIdLst>
    <p:notesMasterId r:id="rId14"/>
  </p:notesMasterIdLst>
  <p:sldIdLst>
    <p:sldId id="256" r:id="rId2"/>
    <p:sldId id="310" r:id="rId3"/>
    <p:sldId id="311" r:id="rId4"/>
    <p:sldId id="320" r:id="rId5"/>
    <p:sldId id="319" r:id="rId6"/>
    <p:sldId id="318" r:id="rId7"/>
    <p:sldId id="313" r:id="rId8"/>
    <p:sldId id="312" r:id="rId9"/>
    <p:sldId id="314" r:id="rId10"/>
    <p:sldId id="315" r:id="rId11"/>
    <p:sldId id="316" r:id="rId12"/>
    <p:sldId id="317" r:id="rId13"/>
  </p:sldIdLst>
  <p:sldSz cx="21743988" cy="1261745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7"/>
    <p:restoredTop sz="94710"/>
  </p:normalViewPr>
  <p:slideViewPr>
    <p:cSldViewPr snapToGrid="0">
      <p:cViewPr varScale="1">
        <p:scale>
          <a:sx n="61" d="100"/>
          <a:sy n="61" d="100"/>
        </p:scale>
        <p:origin x="1400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0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5792024675039E-2"/>
          <c:y val="3.3827442037248197E-2"/>
          <c:w val="0.91958581185283106"/>
          <c:h val="0.932345115925503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  <c:pt idx="4">
                  <c:v>6855</c:v>
                </c:pt>
                <c:pt idx="5">
                  <c:v>3736</c:v>
                </c:pt>
                <c:pt idx="6">
                  <c:v>1507.14</c:v>
                </c:pt>
                <c:pt idx="7">
                  <c:v>1557.51</c:v>
                </c:pt>
                <c:pt idx="8">
                  <c:v>1696.83</c:v>
                </c:pt>
                <c:pt idx="9">
                  <c:v>1518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C1-8C48-8BFB-A88AFFCF6E3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  <c:pt idx="4">
                  <c:v>3466</c:v>
                </c:pt>
                <c:pt idx="5">
                  <c:v>1571</c:v>
                </c:pt>
                <c:pt idx="6">
                  <c:v>665.97</c:v>
                </c:pt>
                <c:pt idx="7">
                  <c:v>862.12000000000012</c:v>
                </c:pt>
                <c:pt idx="8">
                  <c:v>1092.94</c:v>
                </c:pt>
                <c:pt idx="9">
                  <c:v>643.62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C1-8C48-8BFB-A88AFFCF6E3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  <c:pt idx="4">
                  <c:v>199</c:v>
                </c:pt>
                <c:pt idx="5">
                  <c:v>109</c:v>
                </c:pt>
                <c:pt idx="6">
                  <c:v>47.869999999999891</c:v>
                </c:pt>
                <c:pt idx="7">
                  <c:v>50.110000000000127</c:v>
                </c:pt>
                <c:pt idx="8">
                  <c:v>43.829999999999927</c:v>
                </c:pt>
                <c:pt idx="9">
                  <c:v>45.909999999999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C1-8C48-8BFB-A88AFFCF6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0404800"/>
        <c:axId val="1"/>
      </c:areaChart>
      <c:catAx>
        <c:axId val="580404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900" kern="1200">
                <a:solidFill>
                  <a:schemeClr val="tx1"/>
                </a:solidFill>
                <a:latin typeface="+mn-lt"/>
                <a:ea typeface="等线"/>
                <a:cs typeface="+mn-cs"/>
              </a:defRPr>
            </a:pPr>
            <a:endParaRPr lang="zh-CN"/>
          </a:p>
        </c:txPr>
        <c:crossAx val="580404800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09-C040-99B1-BBD5E451B1D0}"/>
            </c:ext>
          </c:extLst>
        </c:ser>
        <c:ser>
          <c:idx val="1"/>
          <c:order val="1"/>
          <c:spPr>
            <a:solidFill>
              <a:srgbClr val="4975C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09-C040-99B1-BBD5E451B1D0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09-C040-99B1-BBD5E451B1D0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09-C040-99B1-BBD5E451B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3392176"/>
        <c:axId val="1"/>
      </c:areaChart>
      <c:catAx>
        <c:axId val="163339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63339217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59.89999999999998</c:v>
                </c:pt>
                <c:pt idx="1">
                  <c:v>725.4</c:v>
                </c:pt>
                <c:pt idx="2">
                  <c:v>634.20000000000005</c:v>
                </c:pt>
                <c:pt idx="3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3D-BF4D-83F7-53B1B4DC71EA}"/>
            </c:ext>
          </c:extLst>
        </c:ser>
        <c:ser>
          <c:idx val="1"/>
          <c:order val="1"/>
          <c:spPr>
            <a:solidFill>
              <a:srgbClr val="4873C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189</c:v>
                </c:pt>
                <c:pt idx="1">
                  <c:v>8885</c:v>
                </c:pt>
                <c:pt idx="2">
                  <c:v>7878.0000000000009</c:v>
                </c:pt>
                <c:pt idx="3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3D-BF4D-83F7-53B1B4DC71E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2</c:v>
                </c:pt>
                <c:pt idx="1">
                  <c:v>771</c:v>
                </c:pt>
                <c:pt idx="2">
                  <c:v>603</c:v>
                </c:pt>
                <c:pt idx="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3D-BF4D-83F7-53B1B4DC71EA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437</c:v>
                </c:pt>
                <c:pt idx="1">
                  <c:v>1709</c:v>
                </c:pt>
                <c:pt idx="2">
                  <c:v>1400</c:v>
                </c:pt>
                <c:pt idx="3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3D-BF4D-83F7-53B1B4DC7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0337824"/>
        <c:axId val="1"/>
      </c:areaChart>
      <c:catAx>
        <c:axId val="20003378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9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0033782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257.2</c:v>
                </c:pt>
                <c:pt idx="2">
                  <c:v>40.5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2-DF41-99CF-565C149EAD42}"/>
            </c:ext>
          </c:extLst>
        </c:ser>
        <c:ser>
          <c:idx val="1"/>
          <c:order val="1"/>
          <c:spPr>
            <a:solidFill>
              <a:srgbClr val="4A76C6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377.83</c:v>
                </c:pt>
                <c:pt idx="1">
                  <c:v>1432.79</c:v>
                </c:pt>
                <c:pt idx="2">
                  <c:v>1504.01</c:v>
                </c:pt>
                <c:pt idx="3">
                  <c:v>140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82-DF41-99CF-565C149EAD42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2.460000000000036</c:v>
                </c:pt>
                <c:pt idx="1">
                  <c:v>83.740000000000009</c:v>
                </c:pt>
                <c:pt idx="2">
                  <c:v>41.059999999999945</c:v>
                </c:pt>
                <c:pt idx="3">
                  <c:v>65.410000000000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82-DF41-99CF-565C149EAD42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46.58999999999992</c:v>
                </c:pt>
                <c:pt idx="1">
                  <c:v>397.05000000000018</c:v>
                </c:pt>
                <c:pt idx="2">
                  <c:v>63.950000000000045</c:v>
                </c:pt>
                <c:pt idx="3">
                  <c:v>64.3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82-DF41-99CF-565C149EAD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94256576"/>
        <c:axId val="1"/>
      </c:areaChart>
      <c:catAx>
        <c:axId val="1794256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0.78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9425657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E9163C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</c:v>
                </c:pt>
                <c:pt idx="1">
                  <c:v>44</c:v>
                </c:pt>
                <c:pt idx="2">
                  <c:v>47</c:v>
                </c:pt>
                <c:pt idx="3">
                  <c:v>40.9</c:v>
                </c:pt>
                <c:pt idx="4">
                  <c:v>-2</c:v>
                </c:pt>
                <c:pt idx="5">
                  <c:v>45</c:v>
                </c:pt>
                <c:pt idx="6">
                  <c:v>47</c:v>
                </c:pt>
                <c:pt idx="7">
                  <c:v>3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A53-9941-BF39-ED126E1C762E}"/>
            </c:ext>
          </c:extLst>
        </c:ser>
        <c:ser>
          <c:idx val="1"/>
          <c:order val="1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4</c:v>
                </c:pt>
                <c:pt idx="1">
                  <c:v>28.999999999999996</c:v>
                </c:pt>
                <c:pt idx="2">
                  <c:v>155</c:v>
                </c:pt>
                <c:pt idx="3">
                  <c:v>84.3</c:v>
                </c:pt>
                <c:pt idx="4">
                  <c:v>-20</c:v>
                </c:pt>
                <c:pt idx="5">
                  <c:v>127</c:v>
                </c:pt>
                <c:pt idx="6">
                  <c:v>136</c:v>
                </c:pt>
                <c:pt idx="7">
                  <c:v>-1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A53-9941-BF39-ED126E1C762E}"/>
            </c:ext>
          </c:extLst>
        </c:ser>
        <c:ser>
          <c:idx val="2"/>
          <c:order val="2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8</c:v>
                </c:pt>
                <c:pt idx="1">
                  <c:v>60</c:v>
                </c:pt>
                <c:pt idx="2">
                  <c:v>5</c:v>
                </c:pt>
                <c:pt idx="3">
                  <c:v>65.400000000000006</c:v>
                </c:pt>
                <c:pt idx="4">
                  <c:v>-39</c:v>
                </c:pt>
                <c:pt idx="5">
                  <c:v>52</c:v>
                </c:pt>
                <c:pt idx="6">
                  <c:v>63</c:v>
                </c:pt>
                <c:pt idx="7">
                  <c:v>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A53-9941-BF39-ED126E1C762E}"/>
            </c:ext>
          </c:extLst>
        </c:ser>
        <c:ser>
          <c:idx val="3"/>
          <c:order val="3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</c:v>
                </c:pt>
                <c:pt idx="1">
                  <c:v>39</c:v>
                </c:pt>
                <c:pt idx="2">
                  <c:v>35</c:v>
                </c:pt>
                <c:pt idx="3">
                  <c:v>27.700000000000003</c:v>
                </c:pt>
                <c:pt idx="4">
                  <c:v>-3</c:v>
                </c:pt>
                <c:pt idx="5">
                  <c:v>28.000000000000004</c:v>
                </c:pt>
                <c:pt idx="6">
                  <c:v>28.000000000000004</c:v>
                </c:pt>
                <c:pt idx="7">
                  <c:v>2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A53-9941-BF39-ED126E1C76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5730576"/>
        <c:axId val="1"/>
      </c:lineChart>
      <c:catAx>
        <c:axId val="1295730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5"/>
          <c:min val="-39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95730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88-7648-A533-10268A68597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88-7648-A533-10268A685972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88-7648-A533-10268A68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1180335"/>
        <c:axId val="1"/>
      </c:areaChart>
      <c:catAx>
        <c:axId val="731180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11803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1F-2143-859B-47138221201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1F-2143-859B-47138221201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1F-2143-859B-471382212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4378031"/>
        <c:axId val="1"/>
      </c:areaChart>
      <c:catAx>
        <c:axId val="1014378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1437803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76-6048-ABB8-12C49E9CEAC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76-6048-ABB8-12C49E9CEAC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76-6048-ABB8-12C49E9CE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1365135"/>
        <c:axId val="1"/>
      </c:areaChart>
      <c:catAx>
        <c:axId val="731365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13651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798424809254246E-2"/>
          <c:y val="3.4482758620689655E-2"/>
          <c:w val="0.9744031503814915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2D7-1541-B1FE-E61B7607D4F1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2D7-1541-B1FE-E61B7607D4F1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2D7-1541-B1FE-E61B7607D4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7665088"/>
        <c:axId val="1"/>
      </c:lineChart>
      <c:catAx>
        <c:axId val="57766508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7665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4143138542350626E-2"/>
          <c:w val="0.9385342789598109"/>
          <c:h val="0.931713722915298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7175</c:v>
                </c:pt>
                <c:pt idx="1">
                  <c:v>17752</c:v>
                </c:pt>
                <c:pt idx="2">
                  <c:v>17140</c:v>
                </c:pt>
                <c:pt idx="3">
                  <c:v>10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A2-864C-80F9-87F73CB3215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7977</c:v>
                </c:pt>
                <c:pt idx="1">
                  <c:v>8310</c:v>
                </c:pt>
                <c:pt idx="2">
                  <c:v>9107</c:v>
                </c:pt>
                <c:pt idx="3">
                  <c:v>5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A2-864C-80F9-87F73CB3215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16</c:v>
                </c:pt>
                <c:pt idx="1">
                  <c:v>472</c:v>
                </c:pt>
                <c:pt idx="2">
                  <c:v>459</c:v>
                </c:pt>
                <c:pt idx="3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A2-864C-80F9-87F73CB32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0194223"/>
        <c:axId val="1"/>
      </c:areaChart>
      <c:catAx>
        <c:axId val="171019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019422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82280809319437E-2"/>
          <c:y val="3.7463976945244955E-2"/>
          <c:w val="0.9362354383813611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441</c:v>
                </c:pt>
                <c:pt idx="1">
                  <c:v>7802</c:v>
                </c:pt>
                <c:pt idx="2">
                  <c:v>6855</c:v>
                </c:pt>
                <c:pt idx="3">
                  <c:v>3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96-8C48-A3DF-DC56C459722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62</c:v>
                </c:pt>
                <c:pt idx="1">
                  <c:v>4075</c:v>
                </c:pt>
                <c:pt idx="2">
                  <c:v>3466</c:v>
                </c:pt>
                <c:pt idx="3">
                  <c:v>1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96-8C48-A3DF-DC56C459722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9</c:v>
                </c:pt>
                <c:pt idx="1">
                  <c:v>223</c:v>
                </c:pt>
                <c:pt idx="2">
                  <c:v>199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96-8C48-A3DF-DC56C4597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8217503"/>
        <c:axId val="1"/>
      </c:areaChart>
      <c:catAx>
        <c:axId val="1528217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821750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55.2</c:v>
                </c:pt>
                <c:pt idx="1">
                  <c:v>1259.9000000000001</c:v>
                </c:pt>
                <c:pt idx="2">
                  <c:v>1515.1</c:v>
                </c:pt>
                <c:pt idx="3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A1-634E-B551-40837FD4E38F}"/>
            </c:ext>
          </c:extLst>
        </c:ser>
        <c:ser>
          <c:idx val="1"/>
          <c:order val="1"/>
          <c:spPr>
            <a:solidFill>
              <a:srgbClr val="4975C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1044</c:v>
                </c:pt>
                <c:pt idx="1">
                  <c:v>20855</c:v>
                </c:pt>
                <c:pt idx="2">
                  <c:v>19945</c:v>
                </c:pt>
                <c:pt idx="3">
                  <c:v>1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A1-634E-B551-40837FD4E38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363</c:v>
                </c:pt>
                <c:pt idx="1">
                  <c:v>1406</c:v>
                </c:pt>
                <c:pt idx="2">
                  <c:v>1563</c:v>
                </c:pt>
                <c:pt idx="3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A1-634E-B551-40837FD4E38F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290</c:v>
                </c:pt>
                <c:pt idx="1">
                  <c:v>2978</c:v>
                </c:pt>
                <c:pt idx="2">
                  <c:v>3660</c:v>
                </c:pt>
                <c:pt idx="3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A1-634E-B551-40837FD4E3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0390864"/>
        <c:axId val="1"/>
      </c:areaChart>
      <c:catAx>
        <c:axId val="580390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683.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8039086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57.51</c:v>
                </c:pt>
                <c:pt idx="1">
                  <c:v>1696.83</c:v>
                </c:pt>
                <c:pt idx="2">
                  <c:v>1518.24</c:v>
                </c:pt>
                <c:pt idx="3">
                  <c:v>1467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99-CB49-AF52-5348BA0B422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62.12000000000012</c:v>
                </c:pt>
                <c:pt idx="1">
                  <c:v>1092.94</c:v>
                </c:pt>
                <c:pt idx="2">
                  <c:v>643.62000000000012</c:v>
                </c:pt>
                <c:pt idx="3">
                  <c:v>671.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99-CB49-AF52-5348BA0B422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.110000000000127</c:v>
                </c:pt>
                <c:pt idx="1">
                  <c:v>43.829999999999927</c:v>
                </c:pt>
                <c:pt idx="2">
                  <c:v>45.909999999999854</c:v>
                </c:pt>
                <c:pt idx="3">
                  <c:v>48.380000000000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99-CB49-AF52-5348BA0B4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296991"/>
        <c:axId val="1"/>
      </c:areaChart>
      <c:catAx>
        <c:axId val="1703296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29699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34247089748404E-3"/>
          <c:y val="3.4482758620689655E-2"/>
          <c:w val="0.98047315058205031"/>
          <c:h val="0.9310344827586206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7.777777777777771</c:v>
                </c:pt>
                <c:pt idx="1">
                  <c:v>81.538461538461533</c:v>
                </c:pt>
                <c:pt idx="2">
                  <c:v>66.304347826086968</c:v>
                </c:pt>
                <c:pt idx="3">
                  <c:v>76.5</c:v>
                </c:pt>
                <c:pt idx="4">
                  <c:v>-3.2608695652173947</c:v>
                </c:pt>
                <c:pt idx="5">
                  <c:v>76.984126984126974</c:v>
                </c:pt>
                <c:pt idx="6">
                  <c:v>74.561403508771946</c:v>
                </c:pt>
                <c:pt idx="7">
                  <c:v>78.9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EB-8B4B-8270-7084757C0052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2.029731275014292</c:v>
                </c:pt>
                <c:pt idx="1">
                  <c:v>47.444996451383957</c:v>
                </c:pt>
                <c:pt idx="2">
                  <c:v>73.996943064577763</c:v>
                </c:pt>
                <c:pt idx="3">
                  <c:v>41.4</c:v>
                </c:pt>
                <c:pt idx="4">
                  <c:v>-2.2927689594356315</c:v>
                </c:pt>
                <c:pt idx="5">
                  <c:v>74.892703862660937</c:v>
                </c:pt>
                <c:pt idx="6">
                  <c:v>50.761200521966067</c:v>
                </c:pt>
                <c:pt idx="7">
                  <c:v>2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EB-8B4B-8270-7084757C0052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6.50453028135432</c:v>
                </c:pt>
                <c:pt idx="1">
                  <c:v>42.896240843596559</c:v>
                </c:pt>
                <c:pt idx="2">
                  <c:v>38.729259409146088</c:v>
                </c:pt>
                <c:pt idx="3">
                  <c:v>39.1</c:v>
                </c:pt>
                <c:pt idx="4">
                  <c:v>-11.177077955601444</c:v>
                </c:pt>
                <c:pt idx="5">
                  <c:v>42.632541133455206</c:v>
                </c:pt>
                <c:pt idx="6">
                  <c:v>42.991239048811011</c:v>
                </c:pt>
                <c:pt idx="7">
                  <c:v>32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EB-8B4B-8270-7084757C0052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41.549022864418973</c:v>
                </c:pt>
                <c:pt idx="1">
                  <c:v>44.844150881598345</c:v>
                </c:pt>
                <c:pt idx="2">
                  <c:v>49.487825356842997</c:v>
                </c:pt>
                <c:pt idx="3">
                  <c:v>40.300000000000004</c:v>
                </c:pt>
                <c:pt idx="4">
                  <c:v>-8.3818598905946669</c:v>
                </c:pt>
                <c:pt idx="5">
                  <c:v>52.662124653040635</c:v>
                </c:pt>
                <c:pt idx="6">
                  <c:v>45.969196614402662</c:v>
                </c:pt>
                <c:pt idx="7">
                  <c:v>3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EB-8B4B-8270-7084757C00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450320"/>
        <c:axId val="1"/>
      </c:lineChart>
      <c:catAx>
        <c:axId val="5734503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1.538461538461533"/>
          <c:min val="-11.177077955601444"/>
        </c:scaling>
        <c:delete val="1"/>
        <c:axPos val="l"/>
        <c:numFmt formatCode="General" sourceLinked="1"/>
        <c:majorTickMark val="out"/>
        <c:minorTickMark val="none"/>
        <c:tickLblPos val="nextTo"/>
        <c:crossAx val="57345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F1-2A4E-88C0-4AE5916A875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F1-2A4E-88C0-4AE5916A875A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F1-2A4E-88C0-4AE5916A8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0031839"/>
        <c:axId val="1"/>
      </c:areaChart>
      <c:catAx>
        <c:axId val="750031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003183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0E-B645-BC66-9072B60C01F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0E-B645-BC66-9072B60C01F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0E-B645-BC66-9072B60C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4663519"/>
        <c:axId val="1"/>
      </c:areaChart>
      <c:catAx>
        <c:axId val="964663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4663519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D2-EE4C-BE09-2FD68DB35CF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D2-EE4C-BE09-2FD68DB35CF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D2-EE4C-BE09-2FD68DB35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3914863"/>
        <c:axId val="1"/>
      </c:areaChart>
      <c:catAx>
        <c:axId val="963914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3914863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55-5340-9350-C012A614808F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55-5340-9350-C012A614808F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55-5340-9350-C012A614808F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A55-5340-9350-C012A6148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0026959"/>
        <c:axId val="1"/>
      </c:lineChart>
      <c:catAx>
        <c:axId val="1710026959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1710026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946236559139782E-2"/>
          <c:y val="3.8518518518518521E-2"/>
          <c:w val="0.93010752688172038"/>
          <c:h val="0.92296296296296299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682</c:v>
                </c:pt>
                <c:pt idx="1">
                  <c:v>3110</c:v>
                </c:pt>
                <c:pt idx="2">
                  <c:v>3620</c:v>
                </c:pt>
                <c:pt idx="3">
                  <c:v>2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32-784B-9611-D7FC3C31B07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998</c:v>
                </c:pt>
                <c:pt idx="1">
                  <c:v>2709</c:v>
                </c:pt>
                <c:pt idx="2">
                  <c:v>3418</c:v>
                </c:pt>
                <c:pt idx="3">
                  <c:v>1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32-784B-9611-D7FC3C31B07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65</c:v>
                </c:pt>
                <c:pt idx="1">
                  <c:v>393</c:v>
                </c:pt>
                <c:pt idx="2">
                  <c:v>395</c:v>
                </c:pt>
                <c:pt idx="3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32-784B-9611-D7FC3C31B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315216"/>
        <c:axId val="1"/>
      </c:areaChart>
      <c:catAx>
        <c:axId val="47231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31521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61061946902654E-2"/>
          <c:y val="3.7142857142857144E-2"/>
          <c:w val="0.94247787610619471"/>
          <c:h val="0.9257142857142857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648</c:v>
                </c:pt>
                <c:pt idx="1">
                  <c:v>1787</c:v>
                </c:pt>
                <c:pt idx="2">
                  <c:v>1522</c:v>
                </c:pt>
                <c:pt idx="3">
                  <c:v>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E-CD49-8186-F2F530C5B63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576</c:v>
                </c:pt>
                <c:pt idx="1">
                  <c:v>1685</c:v>
                </c:pt>
                <c:pt idx="2">
                  <c:v>1123</c:v>
                </c:pt>
                <c:pt idx="3">
                  <c:v>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CE-CD49-8186-F2F530C5B63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8</c:v>
                </c:pt>
                <c:pt idx="1">
                  <c:v>194</c:v>
                </c:pt>
                <c:pt idx="2">
                  <c:v>169</c:v>
                </c:pt>
                <c:pt idx="3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CE-CD49-8186-F2F530C5B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495552"/>
        <c:axId val="1"/>
      </c:areaChart>
      <c:catAx>
        <c:axId val="472495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249555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4486975013291E-2"/>
          <c:y val="3.7463976945244955E-2"/>
          <c:w val="0.94471026049973417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389.76</c:v>
                </c:pt>
                <c:pt idx="1">
                  <c:v>313.79000000000002</c:v>
                </c:pt>
                <c:pt idx="2">
                  <c:v>289.42</c:v>
                </c:pt>
                <c:pt idx="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1C-B84D-800C-B2AB07314EE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61.29999999999995</c:v>
                </c:pt>
                <c:pt idx="1">
                  <c:v>309.08</c:v>
                </c:pt>
                <c:pt idx="2">
                  <c:v>232.00000000000006</c:v>
                </c:pt>
                <c:pt idx="3">
                  <c:v>239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1C-B84D-800C-B2AB07314EE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40.919999999999959</c:v>
                </c:pt>
                <c:pt idx="1">
                  <c:v>39.200000000000045</c:v>
                </c:pt>
                <c:pt idx="2">
                  <c:v>35.980000000000018</c:v>
                </c:pt>
                <c:pt idx="3">
                  <c:v>42.27999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1C-B84D-800C-B2AB07314E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6266880"/>
        <c:axId val="1"/>
      </c:areaChart>
      <c:catAx>
        <c:axId val="566266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97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626688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9714285714285714E-2"/>
          <c:w val="0.9798839458413926"/>
          <c:h val="0.9405714285714286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6.328502415458942</c:v>
                </c:pt>
                <c:pt idx="1">
                  <c:v>63.749999999999993</c:v>
                </c:pt>
                <c:pt idx="2">
                  <c:v>54.296875</c:v>
                </c:pt>
                <c:pt idx="3">
                  <c:v>65.900000000000006</c:v>
                </c:pt>
                <c:pt idx="4">
                  <c:v>-9.3023255813953547</c:v>
                </c:pt>
                <c:pt idx="5">
                  <c:v>67.241379310344811</c:v>
                </c:pt>
                <c:pt idx="6">
                  <c:v>62.5</c:v>
                </c:pt>
                <c:pt idx="7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01-C34C-B65E-F9C95B6EB8CA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59.468085106382972</c:v>
                </c:pt>
                <c:pt idx="1">
                  <c:v>48.846153846153854</c:v>
                </c:pt>
                <c:pt idx="2">
                  <c:v>69.796323894684548</c:v>
                </c:pt>
                <c:pt idx="3">
                  <c:v>23.1</c:v>
                </c:pt>
                <c:pt idx="4">
                  <c:v>-18.297872340425535</c:v>
                </c:pt>
                <c:pt idx="5">
                  <c:v>87.43047830923247</c:v>
                </c:pt>
                <c:pt idx="6">
                  <c:v>24.916573971078982</c:v>
                </c:pt>
                <c:pt idx="7">
                  <c:v>19.4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01-C34C-B65E-F9C95B6EB8CA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63.281596452328159</c:v>
                </c:pt>
                <c:pt idx="1">
                  <c:v>45.804031879981252</c:v>
                </c:pt>
                <c:pt idx="2">
                  <c:v>44.108280254777064</c:v>
                </c:pt>
                <c:pt idx="3">
                  <c:v>49.7</c:v>
                </c:pt>
                <c:pt idx="4">
                  <c:v>-27.27272727272727</c:v>
                </c:pt>
                <c:pt idx="5">
                  <c:v>61.719457013574662</c:v>
                </c:pt>
                <c:pt idx="6">
                  <c:v>57.720207253886002</c:v>
                </c:pt>
                <c:pt idx="7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01-C34C-B65E-F9C95B6EB8CA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01-C34C-B65E-F9C95B6EB8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6651584"/>
        <c:axId val="1"/>
      </c:lineChart>
      <c:catAx>
        <c:axId val="566651584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7.43047830923247"/>
          <c:min val="-27.27272727272727"/>
        </c:scaling>
        <c:delete val="1"/>
        <c:axPos val="l"/>
        <c:numFmt formatCode="General" sourceLinked="1"/>
        <c:majorTickMark val="out"/>
        <c:minorTickMark val="none"/>
        <c:tickLblPos val="nextTo"/>
        <c:crossAx val="56665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59.89999999999998</c:v>
                </c:pt>
                <c:pt idx="1">
                  <c:v>725.4</c:v>
                </c:pt>
                <c:pt idx="2">
                  <c:v>634.20000000000005</c:v>
                </c:pt>
                <c:pt idx="3">
                  <c:v>26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62-3E47-8EB8-4FAF2A6EC0C7}"/>
            </c:ext>
          </c:extLst>
        </c:ser>
        <c:ser>
          <c:idx val="1"/>
          <c:order val="1"/>
          <c:spPr>
            <a:solidFill>
              <a:srgbClr val="4873C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189</c:v>
                </c:pt>
                <c:pt idx="1">
                  <c:v>8885</c:v>
                </c:pt>
                <c:pt idx="2">
                  <c:v>7878.0000000000009</c:v>
                </c:pt>
                <c:pt idx="3">
                  <c:v>4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62-3E47-8EB8-4FAF2A6EC0C7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2</c:v>
                </c:pt>
                <c:pt idx="1">
                  <c:v>771</c:v>
                </c:pt>
                <c:pt idx="2">
                  <c:v>603</c:v>
                </c:pt>
                <c:pt idx="3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62-3E47-8EB8-4FAF2A6EC0C7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437</c:v>
                </c:pt>
                <c:pt idx="1">
                  <c:v>1709</c:v>
                </c:pt>
                <c:pt idx="2">
                  <c:v>1400</c:v>
                </c:pt>
                <c:pt idx="3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E62-3E47-8EB8-4FAF2A6EC0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9840304"/>
        <c:axId val="1"/>
      </c:areaChart>
      <c:catAx>
        <c:axId val="469840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90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9840304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81791483113069E-2"/>
          <c:w val="0.9385342789598109"/>
          <c:h val="0.923641703377386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563.4</c:v>
                </c:pt>
                <c:pt idx="1">
                  <c:v>927.5</c:v>
                </c:pt>
                <c:pt idx="2">
                  <c:v>1129</c:v>
                </c:pt>
                <c:pt idx="3">
                  <c:v>78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5-2A4E-AE2E-C8548FD52A8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6248.000000000002</c:v>
                </c:pt>
                <c:pt idx="1">
                  <c:v>17003</c:v>
                </c:pt>
                <c:pt idx="2">
                  <c:v>15386</c:v>
                </c:pt>
                <c:pt idx="3">
                  <c:v>9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5-2A4E-AE2E-C8548FD52A8E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660</c:v>
                </c:pt>
                <c:pt idx="1">
                  <c:v>826</c:v>
                </c:pt>
                <c:pt idx="2">
                  <c:v>910</c:v>
                </c:pt>
                <c:pt idx="3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35-2A4E-AE2E-C8548FD52A8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042</c:v>
                </c:pt>
                <c:pt idx="1">
                  <c:v>1554</c:v>
                </c:pt>
                <c:pt idx="2">
                  <c:v>1840</c:v>
                </c:pt>
                <c:pt idx="3">
                  <c:v>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35-2A4E-AE2E-C8548FD52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7595375"/>
        <c:axId val="1"/>
      </c:areaChart>
      <c:catAx>
        <c:axId val="1707595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10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75953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27195467422094E-2"/>
          <c:w val="0.93540372670807448"/>
          <c:h val="0.92634560906515584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82</c:v>
                </c:pt>
                <c:pt idx="1">
                  <c:v>597</c:v>
                </c:pt>
                <c:pt idx="2">
                  <c:v>560.4</c:v>
                </c:pt>
                <c:pt idx="3">
                  <c:v>2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CC-434F-9347-BE3C2859209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3354</c:v>
                </c:pt>
                <c:pt idx="1">
                  <c:v>6565</c:v>
                </c:pt>
                <c:pt idx="2">
                  <c:v>6016</c:v>
                </c:pt>
                <c:pt idx="3">
                  <c:v>3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CC-434F-9347-BE3C2859209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74</c:v>
                </c:pt>
                <c:pt idx="1">
                  <c:v>481</c:v>
                </c:pt>
                <c:pt idx="2">
                  <c:v>292</c:v>
                </c:pt>
                <c:pt idx="3">
                  <c:v>116.9999999999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CC-434F-9347-BE3C2859209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79</c:v>
                </c:pt>
                <c:pt idx="1">
                  <c:v>786</c:v>
                </c:pt>
                <c:pt idx="2">
                  <c:v>834</c:v>
                </c:pt>
                <c:pt idx="3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CC-434F-9347-BE3C28592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029775"/>
        <c:axId val="1"/>
      </c:areaChart>
      <c:catAx>
        <c:axId val="1708029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02977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8319823139277821E-2"/>
          <c:w val="0.94202898550724634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257.2</c:v>
                </c:pt>
                <c:pt idx="2">
                  <c:v>40.5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0D-C84A-98F7-DB7AECFA504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377.83</c:v>
                </c:pt>
                <c:pt idx="1">
                  <c:v>1432.79</c:v>
                </c:pt>
                <c:pt idx="2">
                  <c:v>1504.01</c:v>
                </c:pt>
                <c:pt idx="3">
                  <c:v>140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0D-C84A-98F7-DB7AECFA504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82.460000000000036</c:v>
                </c:pt>
                <c:pt idx="1">
                  <c:v>83.740000000000009</c:v>
                </c:pt>
                <c:pt idx="2">
                  <c:v>41.059999999999945</c:v>
                </c:pt>
                <c:pt idx="3">
                  <c:v>65.410000000000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D-C84A-98F7-DB7AECFA504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46.58999999999992</c:v>
                </c:pt>
                <c:pt idx="1">
                  <c:v>397.05000000000018</c:v>
                </c:pt>
                <c:pt idx="2">
                  <c:v>63.950000000000045</c:v>
                </c:pt>
                <c:pt idx="3">
                  <c:v>64.3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0D-C84A-98F7-DB7AECFA50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3129135"/>
        <c:axId val="1"/>
      </c:areaChart>
      <c:catAx>
        <c:axId val="1703129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0.78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3129135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8776978417266189E-2"/>
          <c:w val="0.98152424942263283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35.00473726404780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87-E34E-853E-F5B6EE88A2F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33.761232349165596</c:v>
                </c:pt>
                <c:pt idx="1">
                  <c:v>29.177057356608472</c:v>
                </c:pt>
                <c:pt idx="2">
                  <c:v>154.8476454293629</c:v>
                </c:pt>
                <c:pt idx="3">
                  <c:v>84.3</c:v>
                </c:pt>
                <c:pt idx="4">
                  <c:v>-19.730941704035875</c:v>
                </c:pt>
                <c:pt idx="5">
                  <c:v>126.51296829971184</c:v>
                </c:pt>
                <c:pt idx="6">
                  <c:v>136.26062322946177</c:v>
                </c:pt>
                <c:pt idx="7">
                  <c:v>-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87-E34E-853E-F5B6EE88A2F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7.787056367432157</c:v>
                </c:pt>
                <c:pt idx="1">
                  <c:v>59.76789168278529</c:v>
                </c:pt>
                <c:pt idx="2">
                  <c:v>5.0808314087759765</c:v>
                </c:pt>
                <c:pt idx="3">
                  <c:v>65.400000000000006</c:v>
                </c:pt>
                <c:pt idx="4">
                  <c:v>-38.94736842105263</c:v>
                </c:pt>
                <c:pt idx="5">
                  <c:v>51.735015772870653</c:v>
                </c:pt>
                <c:pt idx="6">
                  <c:v>63.128491620111738</c:v>
                </c:pt>
                <c:pt idx="7">
                  <c:v>70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87-E34E-853E-F5B6EE88A2F8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1.032258064516128</c:v>
                </c:pt>
                <c:pt idx="1">
                  <c:v>39.391703557960312</c:v>
                </c:pt>
                <c:pt idx="2">
                  <c:v>34.551814604285092</c:v>
                </c:pt>
                <c:pt idx="3">
                  <c:v>27.700000000000003</c:v>
                </c:pt>
                <c:pt idx="4">
                  <c:v>-2.7262180974477968</c:v>
                </c:pt>
                <c:pt idx="5">
                  <c:v>28.297830760211063</c:v>
                </c:pt>
                <c:pt idx="6">
                  <c:v>28.382415706359374</c:v>
                </c:pt>
                <c:pt idx="7">
                  <c:v>2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87-E34E-853E-F5B6EE88A2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3376655"/>
        <c:axId val="1"/>
      </c:lineChart>
      <c:catAx>
        <c:axId val="170337665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4.8476454293629"/>
          <c:min val="-38.94736842105263"/>
        </c:scaling>
        <c:delete val="1"/>
        <c:axPos val="l"/>
        <c:numFmt formatCode="General" sourceLinked="1"/>
        <c:majorTickMark val="out"/>
        <c:minorTickMark val="none"/>
        <c:tickLblPos val="nextTo"/>
        <c:crossAx val="17033766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14707619610159E-2"/>
          <c:y val="3.8319823139277821E-2"/>
          <c:w val="0.9385705847607797"/>
          <c:h val="0.9233603537214443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1.79999999999995</c:v>
                </c:pt>
                <c:pt idx="1">
                  <c:v>332.4</c:v>
                </c:pt>
                <c:pt idx="2">
                  <c:v>386.1</c:v>
                </c:pt>
                <c:pt idx="3">
                  <c:v>1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6A-EF46-AC1E-42A2CB1D322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1.9999999999995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6A-EF46-AC1E-42A2CB1D322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6A-EF46-AC1E-42A2CB1D322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.000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6A-EF46-AC1E-42A2CB1D3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7097071"/>
        <c:axId val="1"/>
      </c:areaChart>
      <c:catAx>
        <c:axId val="1527097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2709707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98136645962733E-2"/>
          <c:y val="3.6879432624113473E-2"/>
          <c:w val="0.93540372670807448"/>
          <c:h val="0.9262411347517730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6C-1F4C-935E-8C8514BF550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6C-1F4C-935E-8C8514BF550F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6C-1F4C-935E-8C8514BF550F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6C-1F4C-935E-8C8514BF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4709408"/>
        <c:axId val="1"/>
      </c:areaChart>
      <c:catAx>
        <c:axId val="334709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470940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3.8348082595870206E-2"/>
          <c:w val="0.94381415451107509"/>
          <c:h val="0.923303834808259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6F-8446-AE80-0CE37939F14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6F-8446-AE80-0CE37939F14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6F-8446-AE80-0CE37939F14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6F-8446-AE80-0CE37939F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0966687"/>
        <c:axId val="1"/>
      </c:areaChart>
      <c:catAx>
        <c:axId val="730966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096668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378752886836026E-3"/>
          <c:y val="2.7397260273972601E-2"/>
          <c:w val="0.98152424942263283"/>
          <c:h val="0.945205479452054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62.275449101796411</c:v>
                </c:pt>
                <c:pt idx="1">
                  <c:v>48.140200286123026</c:v>
                </c:pt>
                <c:pt idx="2">
                  <c:v>55.427734783518105</c:v>
                </c:pt>
                <c:pt idx="3">
                  <c:v>38.6</c:v>
                </c:pt>
                <c:pt idx="4">
                  <c:v>-22.651605231866824</c:v>
                </c:pt>
                <c:pt idx="5">
                  <c:v>72.924528301886781</c:v>
                </c:pt>
                <c:pt idx="6">
                  <c:v>43.060498220640575</c:v>
                </c:pt>
                <c:pt idx="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9C-8549-AFC7-79DD6AE1C92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18.147448015122869</c:v>
                </c:pt>
                <c:pt idx="1">
                  <c:v>31.729879740980582</c:v>
                </c:pt>
                <c:pt idx="2">
                  <c:v>69.016697588126164</c:v>
                </c:pt>
                <c:pt idx="3">
                  <c:v>15.8</c:v>
                </c:pt>
                <c:pt idx="4">
                  <c:v>-28.055555555555557</c:v>
                </c:pt>
                <c:pt idx="5">
                  <c:v>94.31578947368422</c:v>
                </c:pt>
                <c:pt idx="6">
                  <c:v>21.459227467811147</c:v>
                </c:pt>
                <c:pt idx="7">
                  <c:v>1.12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59C-8549-AFC7-79DD6AE1C926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6.77419354838707</c:v>
                </c:pt>
                <c:pt idx="1">
                  <c:v>54.255319148936174</c:v>
                </c:pt>
                <c:pt idx="2">
                  <c:v>32.520325203252028</c:v>
                </c:pt>
                <c:pt idx="3">
                  <c:v>63</c:v>
                </c:pt>
                <c:pt idx="4">
                  <c:v>-17.948717948717952</c:v>
                </c:pt>
                <c:pt idx="5">
                  <c:v>11.153846153846159</c:v>
                </c:pt>
                <c:pt idx="6">
                  <c:v>75.141242937853121</c:v>
                </c:pt>
                <c:pt idx="7">
                  <c:v>3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9C-8549-AFC7-79DD6AE1C926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2.588952897322933</c:v>
                </c:pt>
                <c:pt idx="1">
                  <c:v>40.840950639853759</c:v>
                </c:pt>
                <c:pt idx="2">
                  <c:v>42.069180430040511</c:v>
                </c:pt>
                <c:pt idx="3">
                  <c:v>38</c:v>
                </c:pt>
                <c:pt idx="4">
                  <c:v>-28.473413379073754</c:v>
                </c:pt>
                <c:pt idx="5">
                  <c:v>67.630057803468205</c:v>
                </c:pt>
                <c:pt idx="6">
                  <c:v>44.229279628195208</c:v>
                </c:pt>
                <c:pt idx="7">
                  <c:v>2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59C-8549-AFC7-79DD6AE1C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3028976"/>
        <c:axId val="1"/>
      </c:lineChart>
      <c:catAx>
        <c:axId val="57302897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6.77419354838707"/>
          <c:min val="-28.473413379073754"/>
        </c:scaling>
        <c:delete val="1"/>
        <c:axPos val="l"/>
        <c:numFmt formatCode="General" sourceLinked="1"/>
        <c:majorTickMark val="out"/>
        <c:minorTickMark val="none"/>
        <c:tickLblPos val="nextTo"/>
        <c:crossAx val="573028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32860520094562E-2"/>
          <c:y val="3.7463976945244955E-2"/>
          <c:w val="0.9385342789598109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3493</c:v>
                </c:pt>
                <c:pt idx="1">
                  <c:v>14642</c:v>
                </c:pt>
                <c:pt idx="2">
                  <c:v>13521</c:v>
                </c:pt>
                <c:pt idx="3">
                  <c:v>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06-F446-B176-04A2F2CEAD9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979</c:v>
                </c:pt>
                <c:pt idx="1">
                  <c:v>5601</c:v>
                </c:pt>
                <c:pt idx="2">
                  <c:v>5689</c:v>
                </c:pt>
                <c:pt idx="3">
                  <c:v>3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06-F446-B176-04A2F2CEAD9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50</c:v>
                </c:pt>
                <c:pt idx="1">
                  <c:v>78</c:v>
                </c:pt>
                <c:pt idx="2">
                  <c:v>66</c:v>
                </c:pt>
                <c:pt idx="3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06-F446-B176-04A2F2CEAD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2644192"/>
        <c:axId val="1"/>
      </c:areaChart>
      <c:catAx>
        <c:axId val="592644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2644192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3.6086051353226928E-2"/>
          <c:w val="0.93516209476309231"/>
          <c:h val="0.92782789729354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794</c:v>
                </c:pt>
                <c:pt idx="1">
                  <c:v>6015</c:v>
                </c:pt>
                <c:pt idx="2">
                  <c:v>5333</c:v>
                </c:pt>
                <c:pt idx="3">
                  <c:v>3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77-F542-8EE1-441F52EB89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086</c:v>
                </c:pt>
                <c:pt idx="1">
                  <c:v>2390</c:v>
                </c:pt>
                <c:pt idx="2">
                  <c:v>2343</c:v>
                </c:pt>
                <c:pt idx="3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77-F542-8EE1-441F52EB89E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</c:v>
                </c:pt>
                <c:pt idx="1">
                  <c:v>29</c:v>
                </c:pt>
                <c:pt idx="2">
                  <c:v>30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77-F542-8EE1-441F52EB8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542447"/>
        <c:axId val="1"/>
      </c:areaChart>
      <c:catAx>
        <c:axId val="1708542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54244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82.5</c:v>
                </c:pt>
                <c:pt idx="1">
                  <c:v>289.10000000000002</c:v>
                </c:pt>
                <c:pt idx="2">
                  <c:v>65.099999999999994</c:v>
                </c:pt>
                <c:pt idx="3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38-0D44-B433-F0EF706633E8}"/>
            </c:ext>
          </c:extLst>
        </c:ser>
        <c:ser>
          <c:idx val="1"/>
          <c:order val="1"/>
          <c:spPr>
            <a:solidFill>
              <a:srgbClr val="4A76C6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1808.33</c:v>
                </c:pt>
                <c:pt idx="1">
                  <c:v>1797.94</c:v>
                </c:pt>
                <c:pt idx="2">
                  <c:v>1930.48</c:v>
                </c:pt>
                <c:pt idx="3">
                  <c:v>1842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38-0D44-B433-F0EF706633E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91.71000000000004</c:v>
                </c:pt>
                <c:pt idx="1">
                  <c:v>159.42999999999984</c:v>
                </c:pt>
                <c:pt idx="2">
                  <c:v>70.130000000000109</c:v>
                </c:pt>
                <c:pt idx="3">
                  <c:v>120.4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38-0D44-B433-F0EF706633E8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85.61000000000013</c:v>
                </c:pt>
                <c:pt idx="1">
                  <c:v>584.69000000000005</c:v>
                </c:pt>
                <c:pt idx="2">
                  <c:v>139.38999999999987</c:v>
                </c:pt>
                <c:pt idx="3">
                  <c:v>156.57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38-0D44-B433-F0EF70663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8357488"/>
        <c:axId val="1"/>
      </c:areaChart>
      <c:catAx>
        <c:axId val="61835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1.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835748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85507246376812E-2"/>
          <c:y val="3.7463976945244955E-2"/>
          <c:w val="0.94202898550724634"/>
          <c:h val="0.925072046109510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167.75</c:v>
                </c:pt>
                <c:pt idx="1">
                  <c:v>1383.04</c:v>
                </c:pt>
                <c:pt idx="2">
                  <c:v>1228.82</c:v>
                </c:pt>
                <c:pt idx="3">
                  <c:v>1148.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3C47-8FF2-EA4C7D3A20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600.82000000000016</c:v>
                </c:pt>
                <c:pt idx="1">
                  <c:v>783.86000000000013</c:v>
                </c:pt>
                <c:pt idx="2">
                  <c:v>411.62999999999988</c:v>
                </c:pt>
                <c:pt idx="3">
                  <c:v>43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C-3C47-8FF2-EA4C7D3A20C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9.1900000000000546</c:v>
                </c:pt>
                <c:pt idx="1">
                  <c:v>4.6199999999998909</c:v>
                </c:pt>
                <c:pt idx="2">
                  <c:v>9.9300000000000637</c:v>
                </c:pt>
                <c:pt idx="3">
                  <c:v>6.0999999999999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0C-3C47-8FF2-EA4C7D3A2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8906031"/>
        <c:axId val="1"/>
      </c:areaChart>
      <c:catAx>
        <c:axId val="1708906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71.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08906031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58027079303675E-2"/>
          <c:y val="2.8776978417266189E-2"/>
          <c:w val="0.9798839458413926"/>
          <c:h val="0.9424460431654676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78.571428571428584</c:v>
                </c:pt>
                <c:pt idx="1">
                  <c:v>290</c:v>
                </c:pt>
                <c:pt idx="2">
                  <c:v>229.99999999999997</c:v>
                </c:pt>
                <c:pt idx="3">
                  <c:v>169</c:v>
                </c:pt>
                <c:pt idx="4">
                  <c:v>100</c:v>
                </c:pt>
                <c:pt idx="5">
                  <c:v>190</c:v>
                </c:pt>
                <c:pt idx="6">
                  <c:v>200</c:v>
                </c:pt>
                <c:pt idx="7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77-D042-8BD8-AA616DC832B8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47.920380273321442</c:v>
                </c:pt>
                <c:pt idx="1">
                  <c:v>46.73827613308881</c:v>
                </c:pt>
                <c:pt idx="2">
                  <c:v>76.567349472377401</c:v>
                </c:pt>
                <c:pt idx="3">
                  <c:v>52.6</c:v>
                </c:pt>
                <c:pt idx="4">
                  <c:v>9.0361445783132552</c:v>
                </c:pt>
                <c:pt idx="5">
                  <c:v>66.899441340782118</c:v>
                </c:pt>
                <c:pt idx="6">
                  <c:v>67.237687366167023</c:v>
                </c:pt>
                <c:pt idx="7">
                  <c:v>27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77-D042-8BD8-AA616DC832B8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30.657499757916142</c:v>
                </c:pt>
                <c:pt idx="1">
                  <c:v>42.321150855365474</c:v>
                </c:pt>
                <c:pt idx="2">
                  <c:v>37.366656507162446</c:v>
                </c:pt>
                <c:pt idx="3">
                  <c:v>36.5</c:v>
                </c:pt>
                <c:pt idx="4">
                  <c:v>-6.3359034528997604</c:v>
                </c:pt>
                <c:pt idx="5">
                  <c:v>37.800687285223368</c:v>
                </c:pt>
                <c:pt idx="6">
                  <c:v>39.279185165839635</c:v>
                </c:pt>
                <c:pt idx="7">
                  <c:v>32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477-D042-8BD8-AA616DC832B8}"/>
            </c:ext>
          </c:extLst>
        </c:ser>
        <c:ser>
          <c:idx val="3"/>
          <c:order val="3"/>
          <c:spPr>
            <a:ln w="19050" cmpd="sng" algn="ctr">
              <a:solidFill>
                <a:srgbClr val="000000"/>
              </a:solidFill>
              <a:prstDash val="lgDash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4.990161066977635</c:v>
                </c:pt>
                <c:pt idx="1">
                  <c:v>43.865486725663729</c:v>
                </c:pt>
                <c:pt idx="2">
                  <c:v>47.294818890417247</c:v>
                </c:pt>
                <c:pt idx="3">
                  <c:v>40.9</c:v>
                </c:pt>
                <c:pt idx="4">
                  <c:v>-2.3588456712672512</c:v>
                </c:pt>
                <c:pt idx="5">
                  <c:v>45.213498622589519</c:v>
                </c:pt>
                <c:pt idx="6">
                  <c:v>47.080152671755712</c:v>
                </c:pt>
                <c:pt idx="7">
                  <c:v>3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77-D042-8BD8-AA616DC832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0355120"/>
        <c:axId val="1"/>
      </c:lineChart>
      <c:catAx>
        <c:axId val="47035512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90"/>
          <c:min val="-6.3359034528997604"/>
        </c:scaling>
        <c:delete val="1"/>
        <c:axPos val="l"/>
        <c:numFmt formatCode="General" sourceLinked="1"/>
        <c:majorTickMark val="out"/>
        <c:minorTickMark val="none"/>
        <c:tickLblPos val="nextTo"/>
        <c:crossAx val="470355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509032943677E-2"/>
          <c:y val="3.2974001268230815E-2"/>
          <c:w val="0.97236981934112643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E9163C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41.534422306784748</c:v>
                </c:pt>
                <c:pt idx="1">
                  <c:v>44.741039338424081</c:v>
                </c:pt>
                <c:pt idx="2">
                  <c:v>49.461709087650107</c:v>
                </c:pt>
                <c:pt idx="3">
                  <c:v>29.93</c:v>
                </c:pt>
                <c:pt idx="4">
                  <c:v>-8.3749845463697348</c:v>
                </c:pt>
                <c:pt idx="5">
                  <c:v>52.623805496294992</c:v>
                </c:pt>
                <c:pt idx="6">
                  <c:v>45.985644670896455</c:v>
                </c:pt>
                <c:pt idx="7">
                  <c:v>30.86999999999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EDB-7A4D-83EE-F96B3EBC1708}"/>
            </c:ext>
          </c:extLst>
        </c:ser>
        <c:ser>
          <c:idx val="1"/>
          <c:order val="1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24.59194776931448</c:v>
                </c:pt>
                <c:pt idx="1">
                  <c:v>30.385288966725057</c:v>
                </c:pt>
                <c:pt idx="2">
                  <c:v>103.22043309272627</c:v>
                </c:pt>
                <c:pt idx="3">
                  <c:v>46.85</c:v>
                </c:pt>
                <c:pt idx="4">
                  <c:v>-25.042881646655236</c:v>
                </c:pt>
                <c:pt idx="5">
                  <c:v>107.90754257907543</c:v>
                </c:pt>
                <c:pt idx="6">
                  <c:v>70.94017094017093</c:v>
                </c:pt>
                <c:pt idx="7">
                  <c:v>-8.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EDB-7A4D-83EE-F96B3EBC1708}"/>
            </c:ext>
          </c:extLst>
        </c:ser>
        <c:ser>
          <c:idx val="2"/>
          <c:order val="2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72.969543147208114</c:v>
                </c:pt>
                <c:pt idx="1">
                  <c:v>57.270693512304248</c:v>
                </c:pt>
                <c:pt idx="2">
                  <c:v>15.095729013254777</c:v>
                </c:pt>
                <c:pt idx="3">
                  <c:v>64.180000000000007</c:v>
                </c:pt>
                <c:pt idx="4">
                  <c:v>-31.36363636363636</c:v>
                </c:pt>
                <c:pt idx="5">
                  <c:v>33.3910034602076</c:v>
                </c:pt>
                <c:pt idx="6">
                  <c:v>69.382022471910119</c:v>
                </c:pt>
                <c:pt idx="7">
                  <c:v>50.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EDB-7A4D-83EE-F96B3EBC1708}"/>
            </c:ext>
          </c:extLst>
        </c:ser>
        <c:ser>
          <c:idx val="3"/>
          <c:order val="3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37.09446254071662</c:v>
                </c:pt>
                <c:pt idx="1">
                  <c:v>39.657135203910812</c:v>
                </c:pt>
                <c:pt idx="2">
                  <c:v>36.208427234856245</c:v>
                </c:pt>
                <c:pt idx="3">
                  <c:v>29.93</c:v>
                </c:pt>
                <c:pt idx="4">
                  <c:v>-9.2110966623320305</c:v>
                </c:pt>
                <c:pt idx="5">
                  <c:v>36.692307692307693</c:v>
                </c:pt>
                <c:pt idx="6">
                  <c:v>31.783205085312805</c:v>
                </c:pt>
                <c:pt idx="7">
                  <c:v>26.8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2EDB-7A4D-83EE-F96B3EBC17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2929248"/>
        <c:axId val="1"/>
      </c:lineChart>
      <c:catAx>
        <c:axId val="592929248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7.90754257907543"/>
          <c:min val="-31.36363636363636"/>
        </c:scaling>
        <c:delete val="1"/>
        <c:axPos val="l"/>
        <c:numFmt formatCode="General" sourceLinked="1"/>
        <c:majorTickMark val="out"/>
        <c:minorTickMark val="none"/>
        <c:tickLblPos val="nextTo"/>
        <c:crossAx val="592929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43005181347152E-2"/>
          <c:y val="3.6111111111111108E-2"/>
          <c:w val="0.94611398963730575"/>
          <c:h val="0.927777777777777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92</c:v>
                </c:pt>
                <c:pt idx="1">
                  <c:v>332</c:v>
                </c:pt>
                <c:pt idx="2">
                  <c:v>386</c:v>
                </c:pt>
                <c:pt idx="3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BC-EB44-9042-F831CFA52FF8}"/>
            </c:ext>
          </c:extLst>
        </c:ser>
        <c:ser>
          <c:idx val="1"/>
          <c:order val="1"/>
          <c:spPr>
            <a:solidFill>
              <a:srgbClr val="4975C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798</c:v>
                </c:pt>
                <c:pt idx="1">
                  <c:v>3852</c:v>
                </c:pt>
                <c:pt idx="2">
                  <c:v>4559</c:v>
                </c:pt>
                <c:pt idx="3">
                  <c:v>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BC-EB44-9042-F831CFA52FF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703</c:v>
                </c:pt>
                <c:pt idx="1">
                  <c:v>580</c:v>
                </c:pt>
                <c:pt idx="2">
                  <c:v>652</c:v>
                </c:pt>
                <c:pt idx="3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BC-EB44-9042-F831CFA52FF8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250</c:v>
                </c:pt>
                <c:pt idx="1">
                  <c:v>1424</c:v>
                </c:pt>
                <c:pt idx="2">
                  <c:v>1822</c:v>
                </c:pt>
                <c:pt idx="3">
                  <c:v>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6BC-EB44-9042-F831CFA52F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97315056"/>
        <c:axId val="1"/>
      </c:areaChart>
      <c:catAx>
        <c:axId val="1997315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1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9731505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34351145038167E-2"/>
          <c:y val="3.4643570952698204E-2"/>
          <c:w val="0.93893129770992367"/>
          <c:h val="0.9307128580946035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77.900000000000006</c:v>
                </c:pt>
                <c:pt idx="1">
                  <c:v>128.4</c:v>
                </c:pt>
                <c:pt idx="2">
                  <c:v>73.8</c:v>
                </c:pt>
                <c:pt idx="3">
                  <c:v>6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72-7A4A-B479-7F1739161277}"/>
            </c:ext>
          </c:extLst>
        </c:ser>
        <c:ser>
          <c:idx val="1"/>
          <c:order val="1"/>
          <c:spPr>
            <a:solidFill>
              <a:srgbClr val="4873C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834</c:v>
                </c:pt>
                <c:pt idx="1">
                  <c:v>2320</c:v>
                </c:pt>
                <c:pt idx="2">
                  <c:v>1862</c:v>
                </c:pt>
                <c:pt idx="3">
                  <c:v>1010.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72-7A4A-B479-7F1739161277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28.00000000000011</c:v>
                </c:pt>
                <c:pt idx="1">
                  <c:v>289</c:v>
                </c:pt>
                <c:pt idx="2">
                  <c:v>310.00000000000023</c:v>
                </c:pt>
                <c:pt idx="3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72-7A4A-B479-7F1739161277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259</c:v>
                </c:pt>
                <c:pt idx="1">
                  <c:v>923</c:v>
                </c:pt>
                <c:pt idx="2">
                  <c:v>566</c:v>
                </c:pt>
                <c:pt idx="3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72-7A4A-B479-7F1739161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0165120"/>
        <c:axId val="1"/>
      </c:areaChart>
      <c:catAx>
        <c:axId val="2000165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0016512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62626262626262E-2"/>
          <c:y val="3.6186499652052888E-2"/>
          <c:w val="0.94747474747474747"/>
          <c:h val="0.9276270006958942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2.5</c:v>
                </c:pt>
                <c:pt idx="1">
                  <c:v>31.9</c:v>
                </c:pt>
                <c:pt idx="2">
                  <c:v>24.6</c:v>
                </c:pt>
                <c:pt idx="3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A5-B64E-86BD-FC875632CDC9}"/>
            </c:ext>
          </c:extLst>
        </c:ser>
        <c:ser>
          <c:idx val="1"/>
          <c:order val="1"/>
          <c:spPr>
            <a:solidFill>
              <a:srgbClr val="4A76C6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430.51</c:v>
                </c:pt>
                <c:pt idx="1">
                  <c:v>365.15</c:v>
                </c:pt>
                <c:pt idx="2">
                  <c:v>426.47</c:v>
                </c:pt>
                <c:pt idx="3">
                  <c:v>43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A5-B64E-86BD-FC875632CDC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109.25</c:v>
                </c:pt>
                <c:pt idx="1">
                  <c:v>75.69</c:v>
                </c:pt>
                <c:pt idx="2">
                  <c:v>29.069999999999993</c:v>
                </c:pt>
                <c:pt idx="3">
                  <c:v>55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A5-B64E-86BD-FC875632CDC9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139.01999999999998</c:v>
                </c:pt>
                <c:pt idx="1">
                  <c:v>187.63999999999993</c:v>
                </c:pt>
                <c:pt idx="2">
                  <c:v>75.44</c:v>
                </c:pt>
                <c:pt idx="3">
                  <c:v>92.35999999999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A5-B64E-86BD-FC875632C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4354288"/>
        <c:axId val="1"/>
      </c:areaChart>
      <c:catAx>
        <c:axId val="904354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1.2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0435428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23264343725438E-2"/>
          <c:y val="3.2974001268230815E-2"/>
          <c:w val="0.97275347131254908"/>
          <c:h val="0.93405199746353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E9163C"/>
              </a:solidFill>
              <a:prstDash val="lgDash"/>
            </a:ln>
          </c:spPr>
          <c:marker>
            <c:symbol val="none"/>
          </c:marker>
          <c:val>
            <c:numRef>
              <c:f>Sheet1!$A$1:$H$1</c:f>
              <c:numCache>
                <c:formatCode>General</c:formatCode>
                <c:ptCount val="8"/>
                <c:pt idx="0">
                  <c:v>62</c:v>
                </c:pt>
                <c:pt idx="1">
                  <c:v>48</c:v>
                </c:pt>
                <c:pt idx="2">
                  <c:v>55.000000000000007</c:v>
                </c:pt>
                <c:pt idx="3">
                  <c:v>38.6</c:v>
                </c:pt>
                <c:pt idx="4">
                  <c:v>-23</c:v>
                </c:pt>
                <c:pt idx="5">
                  <c:v>73</c:v>
                </c:pt>
                <c:pt idx="6">
                  <c:v>43</c:v>
                </c:pt>
                <c:pt idx="7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A05-1D47-9BE9-785281FB4B6B}"/>
            </c:ext>
          </c:extLst>
        </c:ser>
        <c:ser>
          <c:idx val="1"/>
          <c:order val="1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2:$H$2</c:f>
              <c:numCache>
                <c:formatCode>General</c:formatCode>
                <c:ptCount val="8"/>
                <c:pt idx="0">
                  <c:v>18</c:v>
                </c:pt>
                <c:pt idx="1">
                  <c:v>32</c:v>
                </c:pt>
                <c:pt idx="2">
                  <c:v>69</c:v>
                </c:pt>
                <c:pt idx="3">
                  <c:v>15.8</c:v>
                </c:pt>
                <c:pt idx="4">
                  <c:v>-28.000000000000004</c:v>
                </c:pt>
                <c:pt idx="5">
                  <c:v>94</c:v>
                </c:pt>
                <c:pt idx="6">
                  <c:v>21</c:v>
                </c:pt>
                <c:pt idx="7">
                  <c:v>1.12999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A05-1D47-9BE9-785281FB4B6B}"/>
            </c:ext>
          </c:extLst>
        </c:ser>
        <c:ser>
          <c:idx val="2"/>
          <c:order val="2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  <c:pt idx="0">
                  <c:v>127</c:v>
                </c:pt>
                <c:pt idx="1">
                  <c:v>54</c:v>
                </c:pt>
                <c:pt idx="2">
                  <c:v>33</c:v>
                </c:pt>
                <c:pt idx="3">
                  <c:v>63</c:v>
                </c:pt>
                <c:pt idx="4">
                  <c:v>-18</c:v>
                </c:pt>
                <c:pt idx="5">
                  <c:v>11</c:v>
                </c:pt>
                <c:pt idx="6">
                  <c:v>75</c:v>
                </c:pt>
                <c:pt idx="7">
                  <c:v>30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4A05-1D47-9BE9-785281FB4B6B}"/>
            </c:ext>
          </c:extLst>
        </c:ser>
        <c:ser>
          <c:idx val="3"/>
          <c:order val="3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63</c:v>
                </c:pt>
                <c:pt idx="1">
                  <c:v>41</c:v>
                </c:pt>
                <c:pt idx="2">
                  <c:v>42</c:v>
                </c:pt>
                <c:pt idx="3">
                  <c:v>38</c:v>
                </c:pt>
                <c:pt idx="4">
                  <c:v>-28.000000000000004</c:v>
                </c:pt>
                <c:pt idx="5">
                  <c:v>68</c:v>
                </c:pt>
                <c:pt idx="6">
                  <c:v>44</c:v>
                </c:pt>
                <c:pt idx="7">
                  <c:v>27.9000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A05-1D47-9BE9-785281FB4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8745616"/>
        <c:axId val="1"/>
      </c:lineChart>
      <c:catAx>
        <c:axId val="1208745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>
            <a:noFill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7"/>
          <c:min val="-28.00000000000000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08745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76657F-7A29-DA46-BDF7-DBA4BD24A48B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69938" y="1143000"/>
            <a:ext cx="5318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3B7E9-AA5B-564D-B531-1DFCA2A5AA0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59055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1pPr>
    <a:lvl2pPr marL="765707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2pPr>
    <a:lvl3pPr marL="1531413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3pPr>
    <a:lvl4pPr marL="229712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4pPr>
    <a:lvl5pPr marL="306282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5pPr>
    <a:lvl6pPr marL="3828534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6pPr>
    <a:lvl7pPr marL="4594241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7pPr>
    <a:lvl8pPr marL="5359948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8pPr>
    <a:lvl9pPr marL="6125655" algn="l" defTabSz="1531413" rtl="0" eaLnBrk="1" latinLnBrk="0" hangingPunct="1">
      <a:defRPr sz="201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9074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*收入类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7533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FAC7F-15F8-2A09-E72B-4C5EF85A9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570F29-82AD-A799-90D6-61E1AB08F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64A5E8D-0505-FE3E-B768-95D8FE1B08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教培*收入类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B07E4A5-52D9-1364-0704-767A88AC5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173974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7801B-460F-0046-CE4C-B7FE1830B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E06490-75E3-BF88-0928-DC8B5272B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1C39E54-A1CE-BB21-6149-2CF354328E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直营</a:t>
            </a:r>
            <a:r>
              <a:rPr kumimoji="1" lang="en-US" altLang="zh-CN" dirty="0"/>
              <a:t>by</a:t>
            </a:r>
            <a:r>
              <a:rPr kumimoji="1" lang="zh-CN" altLang="en-US" dirty="0"/>
              <a:t>收入类型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F9B9F0-B35A-38EB-C95C-3D8C9B8A9E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579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3044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70682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C6C0D-36BC-1BD1-6E11-F3B41014E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6B315C7-4635-FC83-2163-A404D031B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D76C74F-39C9-B872-666C-FBCBFCF4E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4057985-54A1-3B14-3065-601AE1CE65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11282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9BB1D-BC53-0611-FC33-DCF0AF428B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626C0C7-ED81-DE07-4DF7-9FAFC70393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92F4AFF-D7B9-CCF9-E3FC-65F84B6EA9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182B5B-E9C7-9357-F7FE-EE46C90F8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35445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059B4-6FF7-ACD7-05B4-0B3946B48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2F4775B-49BB-ADBF-9507-7E108D13C0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652CDC-9401-7B70-6954-80C1891953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低频收入结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805687-5DFA-A466-D363-24A04DA53E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93594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4F44A-5DA8-7CE9-596E-94889B1B2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F25A0F7-94D2-7728-31FF-01963F620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6422DDA-DECD-1454-E1F3-361A3D9DA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总收入：直营｜渠道｜电销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77A992-3FB0-F295-C286-07D0B89C31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26475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3F595-E3E2-82F9-C043-DE430A583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6ACF777-8169-0479-5861-FDFB58D17E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DC13B9-7060-5E73-A548-D78F48833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医疗总收入：直营｜渠道｜电销；</a:t>
            </a:r>
            <a:endParaRPr kumimoji="1"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406E10-AC5C-83C0-1777-B51CF88821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378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69938" y="1143000"/>
            <a:ext cx="5318125" cy="30861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/>
              <a:t>教培总收入：直营｜渠道｜电销</a:t>
            </a: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3B7E9-AA5B-564D-B531-1DFCA2A5AA00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06410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7999" y="2064940"/>
            <a:ext cx="16307991" cy="4392742"/>
          </a:xfrm>
        </p:spPr>
        <p:txBody>
          <a:bodyPr anchor="b"/>
          <a:lstStyle>
            <a:lvl1pPr algn="ctr"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17999" y="6627083"/>
            <a:ext cx="16307991" cy="3046295"/>
          </a:xfrm>
        </p:spPr>
        <p:txBody>
          <a:bodyPr/>
          <a:lstStyle>
            <a:lvl1pPr marL="0" indent="0" algn="ctr">
              <a:buNone/>
              <a:defRPr sz="4280"/>
            </a:lvl1pPr>
            <a:lvl2pPr marL="815416" indent="0" algn="ctr">
              <a:buNone/>
              <a:defRPr sz="3567"/>
            </a:lvl2pPr>
            <a:lvl3pPr marL="1630832" indent="0" algn="ctr">
              <a:buNone/>
              <a:defRPr sz="3210"/>
            </a:lvl3pPr>
            <a:lvl4pPr marL="2446249" indent="0" algn="ctr">
              <a:buNone/>
              <a:defRPr sz="2854"/>
            </a:lvl4pPr>
            <a:lvl5pPr marL="3261665" indent="0" algn="ctr">
              <a:buNone/>
              <a:defRPr sz="2854"/>
            </a:lvl5pPr>
            <a:lvl6pPr marL="4077081" indent="0" algn="ctr">
              <a:buNone/>
              <a:defRPr sz="2854"/>
            </a:lvl6pPr>
            <a:lvl7pPr marL="4892497" indent="0" algn="ctr">
              <a:buNone/>
              <a:defRPr sz="2854"/>
            </a:lvl7pPr>
            <a:lvl8pPr marL="5707913" indent="0" algn="ctr">
              <a:buNone/>
              <a:defRPr sz="2854"/>
            </a:lvl8pPr>
            <a:lvl9pPr marL="6523330" indent="0" algn="ctr">
              <a:buNone/>
              <a:defRPr sz="2854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63274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8400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60542" y="671762"/>
            <a:ext cx="4688547" cy="1069270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4899" y="671762"/>
            <a:ext cx="13793842" cy="1069270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89327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59933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3574" y="3145602"/>
            <a:ext cx="18754190" cy="5248508"/>
          </a:xfrm>
        </p:spPr>
        <p:txBody>
          <a:bodyPr anchor="b"/>
          <a:lstStyle>
            <a:lvl1pPr>
              <a:defRPr sz="10701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3574" y="8443763"/>
            <a:ext cx="18754190" cy="2760066"/>
          </a:xfrm>
        </p:spPr>
        <p:txBody>
          <a:bodyPr/>
          <a:lstStyle>
            <a:lvl1pPr marL="0" indent="0">
              <a:buNone/>
              <a:defRPr sz="4280">
                <a:solidFill>
                  <a:schemeClr val="tx1">
                    <a:tint val="75000"/>
                  </a:schemeClr>
                </a:solidFill>
              </a:defRPr>
            </a:lvl1pPr>
            <a:lvl2pPr marL="815416" indent="0">
              <a:buNone/>
              <a:defRPr sz="3567">
                <a:solidFill>
                  <a:schemeClr val="tx1">
                    <a:tint val="75000"/>
                  </a:schemeClr>
                </a:solidFill>
              </a:defRPr>
            </a:lvl2pPr>
            <a:lvl3pPr marL="1630832" indent="0">
              <a:buNone/>
              <a:defRPr sz="3210">
                <a:solidFill>
                  <a:schemeClr val="tx1">
                    <a:tint val="75000"/>
                  </a:schemeClr>
                </a:solidFill>
              </a:defRPr>
            </a:lvl3pPr>
            <a:lvl4pPr marL="2446249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4pPr>
            <a:lvl5pPr marL="3261665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5pPr>
            <a:lvl6pPr marL="4077081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6pPr>
            <a:lvl7pPr marL="4892497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7pPr>
            <a:lvl8pPr marL="5707913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8pPr>
            <a:lvl9pPr marL="6523330" indent="0">
              <a:buNone/>
              <a:defRPr sz="285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97736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94899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07894" y="3358812"/>
            <a:ext cx="9241195" cy="80056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03480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1" y="671764"/>
            <a:ext cx="18754190" cy="24387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732" y="3093028"/>
            <a:ext cx="9198725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97732" y="4608874"/>
            <a:ext cx="9198725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007894" y="3093028"/>
            <a:ext cx="9244027" cy="1515846"/>
          </a:xfrm>
        </p:spPr>
        <p:txBody>
          <a:bodyPr anchor="b"/>
          <a:lstStyle>
            <a:lvl1pPr marL="0" indent="0">
              <a:buNone/>
              <a:defRPr sz="4280" b="1"/>
            </a:lvl1pPr>
            <a:lvl2pPr marL="815416" indent="0">
              <a:buNone/>
              <a:defRPr sz="3567" b="1"/>
            </a:lvl2pPr>
            <a:lvl3pPr marL="1630832" indent="0">
              <a:buNone/>
              <a:defRPr sz="3210" b="1"/>
            </a:lvl3pPr>
            <a:lvl4pPr marL="2446249" indent="0">
              <a:buNone/>
              <a:defRPr sz="2854" b="1"/>
            </a:lvl4pPr>
            <a:lvl5pPr marL="3261665" indent="0">
              <a:buNone/>
              <a:defRPr sz="2854" b="1"/>
            </a:lvl5pPr>
            <a:lvl6pPr marL="4077081" indent="0">
              <a:buNone/>
              <a:defRPr sz="2854" b="1"/>
            </a:lvl6pPr>
            <a:lvl7pPr marL="4892497" indent="0">
              <a:buNone/>
              <a:defRPr sz="2854" b="1"/>
            </a:lvl7pPr>
            <a:lvl8pPr marL="5707913" indent="0">
              <a:buNone/>
              <a:defRPr sz="2854" b="1"/>
            </a:lvl8pPr>
            <a:lvl9pPr marL="6523330" indent="0">
              <a:buNone/>
              <a:defRPr sz="285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007894" y="4608874"/>
            <a:ext cx="9244027" cy="67789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2670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3490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75938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4027" y="1816680"/>
            <a:ext cx="11007894" cy="8966567"/>
          </a:xfrm>
        </p:spPr>
        <p:txBody>
          <a:bodyPr/>
          <a:lstStyle>
            <a:lvl1pPr>
              <a:defRPr sz="5707"/>
            </a:lvl1pPr>
            <a:lvl2pPr>
              <a:defRPr sz="4994"/>
            </a:lvl2pPr>
            <a:lvl3pPr>
              <a:defRPr sz="4280"/>
            </a:lvl3pPr>
            <a:lvl4pPr>
              <a:defRPr sz="3567"/>
            </a:lvl4pPr>
            <a:lvl5pPr>
              <a:defRPr sz="3567"/>
            </a:lvl5pPr>
            <a:lvl6pPr>
              <a:defRPr sz="3567"/>
            </a:lvl6pPr>
            <a:lvl7pPr>
              <a:defRPr sz="3567"/>
            </a:lvl7pPr>
            <a:lvl8pPr>
              <a:defRPr sz="3567"/>
            </a:lvl8pPr>
            <a:lvl9pPr>
              <a:defRPr sz="35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66085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732" y="841163"/>
            <a:ext cx="7013001" cy="2944072"/>
          </a:xfrm>
        </p:spPr>
        <p:txBody>
          <a:bodyPr anchor="b"/>
          <a:lstStyle>
            <a:lvl1pPr>
              <a:defRPr sz="570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244027" y="1816680"/>
            <a:ext cx="11007894" cy="8966567"/>
          </a:xfrm>
        </p:spPr>
        <p:txBody>
          <a:bodyPr anchor="t"/>
          <a:lstStyle>
            <a:lvl1pPr marL="0" indent="0">
              <a:buNone/>
              <a:defRPr sz="5707"/>
            </a:lvl1pPr>
            <a:lvl2pPr marL="815416" indent="0">
              <a:buNone/>
              <a:defRPr sz="4994"/>
            </a:lvl2pPr>
            <a:lvl3pPr marL="1630832" indent="0">
              <a:buNone/>
              <a:defRPr sz="4280"/>
            </a:lvl3pPr>
            <a:lvl4pPr marL="2446249" indent="0">
              <a:buNone/>
              <a:defRPr sz="3567"/>
            </a:lvl4pPr>
            <a:lvl5pPr marL="3261665" indent="0">
              <a:buNone/>
              <a:defRPr sz="3567"/>
            </a:lvl5pPr>
            <a:lvl6pPr marL="4077081" indent="0">
              <a:buNone/>
              <a:defRPr sz="3567"/>
            </a:lvl6pPr>
            <a:lvl7pPr marL="4892497" indent="0">
              <a:buNone/>
              <a:defRPr sz="3567"/>
            </a:lvl7pPr>
            <a:lvl8pPr marL="5707913" indent="0">
              <a:buNone/>
              <a:defRPr sz="3567"/>
            </a:lvl8pPr>
            <a:lvl9pPr marL="6523330" indent="0">
              <a:buNone/>
              <a:defRPr sz="3567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7732" y="3785235"/>
            <a:ext cx="7013001" cy="7012616"/>
          </a:xfrm>
        </p:spPr>
        <p:txBody>
          <a:bodyPr/>
          <a:lstStyle>
            <a:lvl1pPr marL="0" indent="0">
              <a:buNone/>
              <a:defRPr sz="2854"/>
            </a:lvl1pPr>
            <a:lvl2pPr marL="815416" indent="0">
              <a:buNone/>
              <a:defRPr sz="2497"/>
            </a:lvl2pPr>
            <a:lvl3pPr marL="1630832" indent="0">
              <a:buNone/>
              <a:defRPr sz="2140"/>
            </a:lvl3pPr>
            <a:lvl4pPr marL="2446249" indent="0">
              <a:buNone/>
              <a:defRPr sz="1784"/>
            </a:lvl4pPr>
            <a:lvl5pPr marL="3261665" indent="0">
              <a:buNone/>
              <a:defRPr sz="1784"/>
            </a:lvl5pPr>
            <a:lvl6pPr marL="4077081" indent="0">
              <a:buNone/>
              <a:defRPr sz="1784"/>
            </a:lvl6pPr>
            <a:lvl7pPr marL="4892497" indent="0">
              <a:buNone/>
              <a:defRPr sz="1784"/>
            </a:lvl7pPr>
            <a:lvl8pPr marL="5707913" indent="0">
              <a:buNone/>
              <a:defRPr sz="1784"/>
            </a:lvl8pPr>
            <a:lvl9pPr marL="6523330" indent="0">
              <a:buNone/>
              <a:defRPr sz="178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016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94899" y="671764"/>
            <a:ext cx="18754190" cy="2438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4899" y="3358812"/>
            <a:ext cx="18754190" cy="80056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4899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340F0A-5BAD-8944-A21F-3F73A1737896}" type="datetimeFigureOut">
              <a:rPr kumimoji="1" lang="zh-CN" altLang="en-US" smtClean="0"/>
              <a:t>2026/5/19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2696" y="11694508"/>
            <a:ext cx="7338596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56692" y="11694508"/>
            <a:ext cx="4892397" cy="671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479EC-A1EC-6E4D-9400-FBDCE5E2C30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262370-8F52-D440-C7E1-FFC871DB23EC}"/>
              </a:ext>
            </a:extLst>
          </p:cNvPr>
          <p:cNvGraphicFramePr>
            <a:graphicFrameLocks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57685219"/>
              </p:ext>
            </p:extLst>
          </p:nvPr>
        </p:nvGraphicFramePr>
        <p:xfrm>
          <a:off x="3783" y="2924"/>
          <a:ext cx="2918" cy="29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5F7AF-0385-F3CB-8E3B-F1E07DA4D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783" y="2924"/>
                        <a:ext cx="2918" cy="29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4486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1630832" rtl="0" eaLnBrk="1" latinLnBrk="0" hangingPunct="1">
        <a:lnSpc>
          <a:spcPct val="90000"/>
        </a:lnSpc>
        <a:spcBef>
          <a:spcPct val="0"/>
        </a:spcBef>
        <a:buNone/>
        <a:defRPr sz="78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7708" indent="-407708" algn="l" defTabSz="1630832" rtl="0" eaLnBrk="1" latinLnBrk="0" hangingPunct="1">
        <a:lnSpc>
          <a:spcPct val="90000"/>
        </a:lnSpc>
        <a:spcBef>
          <a:spcPts val="1784"/>
        </a:spcBef>
        <a:buFont typeface="Arial" panose="020B0604020202020204" pitchFamily="34" charset="0"/>
        <a:buChar char="•"/>
        <a:defRPr sz="4994" kern="1200">
          <a:solidFill>
            <a:schemeClr val="tx1"/>
          </a:solidFill>
          <a:latin typeface="+mn-lt"/>
          <a:ea typeface="+mn-ea"/>
          <a:cs typeface="+mn-cs"/>
        </a:defRPr>
      </a:lvl1pPr>
      <a:lvl2pPr marL="1223124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4280" kern="1200">
          <a:solidFill>
            <a:schemeClr val="tx1"/>
          </a:solidFill>
          <a:latin typeface="+mn-lt"/>
          <a:ea typeface="+mn-ea"/>
          <a:cs typeface="+mn-cs"/>
        </a:defRPr>
      </a:lvl2pPr>
      <a:lvl3pPr marL="2038541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567" kern="1200">
          <a:solidFill>
            <a:schemeClr val="tx1"/>
          </a:solidFill>
          <a:latin typeface="+mn-lt"/>
          <a:ea typeface="+mn-ea"/>
          <a:cs typeface="+mn-cs"/>
        </a:defRPr>
      </a:lvl3pPr>
      <a:lvl4pPr marL="2853957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669373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484789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5300205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6115622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931038" indent="-407708" algn="l" defTabSz="1630832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1pPr>
      <a:lvl2pPr marL="815416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2pPr>
      <a:lvl3pPr marL="1630832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3pPr>
      <a:lvl4pPr marL="2446249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4pPr>
      <a:lvl5pPr marL="3261665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5pPr>
      <a:lvl6pPr marL="4077081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6pPr>
      <a:lvl7pPr marL="4892497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7pPr>
      <a:lvl8pPr marL="5707913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8pPr>
      <a:lvl9pPr marL="6523330" algn="l" defTabSz="1630832" rtl="0" eaLnBrk="1" latinLnBrk="0" hangingPunct="1">
        <a:defRPr sz="32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010.xml"/><Relationship Id="rId21" Type="http://schemas.openxmlformats.org/officeDocument/2006/relationships/tags" Target="../tags/tag914.xml"/><Relationship Id="rId42" Type="http://schemas.openxmlformats.org/officeDocument/2006/relationships/tags" Target="../tags/tag935.xml"/><Relationship Id="rId63" Type="http://schemas.openxmlformats.org/officeDocument/2006/relationships/tags" Target="../tags/tag956.xml"/><Relationship Id="rId84" Type="http://schemas.openxmlformats.org/officeDocument/2006/relationships/tags" Target="../tags/tag977.xml"/><Relationship Id="rId138" Type="http://schemas.openxmlformats.org/officeDocument/2006/relationships/tags" Target="../tags/tag1031.xml"/><Relationship Id="rId107" Type="http://schemas.openxmlformats.org/officeDocument/2006/relationships/tags" Target="../tags/tag1000.xml"/><Relationship Id="rId11" Type="http://schemas.openxmlformats.org/officeDocument/2006/relationships/tags" Target="../tags/tag904.xml"/><Relationship Id="rId32" Type="http://schemas.openxmlformats.org/officeDocument/2006/relationships/tags" Target="../tags/tag925.xml"/><Relationship Id="rId53" Type="http://schemas.openxmlformats.org/officeDocument/2006/relationships/tags" Target="../tags/tag946.xml"/><Relationship Id="rId74" Type="http://schemas.openxmlformats.org/officeDocument/2006/relationships/tags" Target="../tags/tag967.xml"/><Relationship Id="rId128" Type="http://schemas.openxmlformats.org/officeDocument/2006/relationships/tags" Target="../tags/tag1021.xml"/><Relationship Id="rId5" Type="http://schemas.openxmlformats.org/officeDocument/2006/relationships/tags" Target="../tags/tag898.xml"/><Relationship Id="rId90" Type="http://schemas.openxmlformats.org/officeDocument/2006/relationships/tags" Target="../tags/tag983.xml"/><Relationship Id="rId95" Type="http://schemas.openxmlformats.org/officeDocument/2006/relationships/tags" Target="../tags/tag988.xml"/><Relationship Id="rId22" Type="http://schemas.openxmlformats.org/officeDocument/2006/relationships/tags" Target="../tags/tag915.xml"/><Relationship Id="rId27" Type="http://schemas.openxmlformats.org/officeDocument/2006/relationships/tags" Target="../tags/tag920.xml"/><Relationship Id="rId43" Type="http://schemas.openxmlformats.org/officeDocument/2006/relationships/tags" Target="../tags/tag936.xml"/><Relationship Id="rId48" Type="http://schemas.openxmlformats.org/officeDocument/2006/relationships/tags" Target="../tags/tag941.xml"/><Relationship Id="rId64" Type="http://schemas.openxmlformats.org/officeDocument/2006/relationships/tags" Target="../tags/tag957.xml"/><Relationship Id="rId69" Type="http://schemas.openxmlformats.org/officeDocument/2006/relationships/tags" Target="../tags/tag962.xml"/><Relationship Id="rId113" Type="http://schemas.openxmlformats.org/officeDocument/2006/relationships/tags" Target="../tags/tag1006.xml"/><Relationship Id="rId118" Type="http://schemas.openxmlformats.org/officeDocument/2006/relationships/tags" Target="../tags/tag1011.xml"/><Relationship Id="rId134" Type="http://schemas.openxmlformats.org/officeDocument/2006/relationships/tags" Target="../tags/tag1027.xml"/><Relationship Id="rId139" Type="http://schemas.openxmlformats.org/officeDocument/2006/relationships/tags" Target="../tags/tag1032.xml"/><Relationship Id="rId80" Type="http://schemas.openxmlformats.org/officeDocument/2006/relationships/tags" Target="../tags/tag973.xml"/><Relationship Id="rId85" Type="http://schemas.openxmlformats.org/officeDocument/2006/relationships/tags" Target="../tags/tag978.xml"/><Relationship Id="rId12" Type="http://schemas.openxmlformats.org/officeDocument/2006/relationships/tags" Target="../tags/tag905.xml"/><Relationship Id="rId17" Type="http://schemas.openxmlformats.org/officeDocument/2006/relationships/tags" Target="../tags/tag910.xml"/><Relationship Id="rId33" Type="http://schemas.openxmlformats.org/officeDocument/2006/relationships/tags" Target="../tags/tag926.xml"/><Relationship Id="rId38" Type="http://schemas.openxmlformats.org/officeDocument/2006/relationships/tags" Target="../tags/tag931.xml"/><Relationship Id="rId59" Type="http://schemas.openxmlformats.org/officeDocument/2006/relationships/tags" Target="../tags/tag952.xml"/><Relationship Id="rId103" Type="http://schemas.openxmlformats.org/officeDocument/2006/relationships/tags" Target="../tags/tag996.xml"/><Relationship Id="rId108" Type="http://schemas.openxmlformats.org/officeDocument/2006/relationships/tags" Target="../tags/tag1001.xml"/><Relationship Id="rId124" Type="http://schemas.openxmlformats.org/officeDocument/2006/relationships/tags" Target="../tags/tag1017.xml"/><Relationship Id="rId129" Type="http://schemas.openxmlformats.org/officeDocument/2006/relationships/tags" Target="../tags/tag1022.xml"/><Relationship Id="rId54" Type="http://schemas.openxmlformats.org/officeDocument/2006/relationships/tags" Target="../tags/tag947.xml"/><Relationship Id="rId70" Type="http://schemas.openxmlformats.org/officeDocument/2006/relationships/tags" Target="../tags/tag963.xml"/><Relationship Id="rId75" Type="http://schemas.openxmlformats.org/officeDocument/2006/relationships/tags" Target="../tags/tag968.xml"/><Relationship Id="rId91" Type="http://schemas.openxmlformats.org/officeDocument/2006/relationships/tags" Target="../tags/tag984.xml"/><Relationship Id="rId96" Type="http://schemas.openxmlformats.org/officeDocument/2006/relationships/tags" Target="../tags/tag989.xml"/><Relationship Id="rId140" Type="http://schemas.openxmlformats.org/officeDocument/2006/relationships/tags" Target="../tags/tag1033.xml"/><Relationship Id="rId145" Type="http://schemas.openxmlformats.org/officeDocument/2006/relationships/chart" Target="../charts/chart30.xml"/><Relationship Id="rId1" Type="http://schemas.openxmlformats.org/officeDocument/2006/relationships/tags" Target="../tags/tag894.xml"/><Relationship Id="rId6" Type="http://schemas.openxmlformats.org/officeDocument/2006/relationships/tags" Target="../tags/tag899.xml"/><Relationship Id="rId23" Type="http://schemas.openxmlformats.org/officeDocument/2006/relationships/tags" Target="../tags/tag916.xml"/><Relationship Id="rId28" Type="http://schemas.openxmlformats.org/officeDocument/2006/relationships/tags" Target="../tags/tag921.xml"/><Relationship Id="rId49" Type="http://schemas.openxmlformats.org/officeDocument/2006/relationships/tags" Target="../tags/tag942.xml"/><Relationship Id="rId114" Type="http://schemas.openxmlformats.org/officeDocument/2006/relationships/tags" Target="../tags/tag1007.xml"/><Relationship Id="rId119" Type="http://schemas.openxmlformats.org/officeDocument/2006/relationships/tags" Target="../tags/tag1012.xml"/><Relationship Id="rId44" Type="http://schemas.openxmlformats.org/officeDocument/2006/relationships/tags" Target="../tags/tag937.xml"/><Relationship Id="rId60" Type="http://schemas.openxmlformats.org/officeDocument/2006/relationships/tags" Target="../tags/tag953.xml"/><Relationship Id="rId65" Type="http://schemas.openxmlformats.org/officeDocument/2006/relationships/tags" Target="../tags/tag958.xml"/><Relationship Id="rId81" Type="http://schemas.openxmlformats.org/officeDocument/2006/relationships/tags" Target="../tags/tag974.xml"/><Relationship Id="rId86" Type="http://schemas.openxmlformats.org/officeDocument/2006/relationships/tags" Target="../tags/tag979.xml"/><Relationship Id="rId130" Type="http://schemas.openxmlformats.org/officeDocument/2006/relationships/tags" Target="../tags/tag1023.xml"/><Relationship Id="rId135" Type="http://schemas.openxmlformats.org/officeDocument/2006/relationships/tags" Target="../tags/tag1028.xml"/><Relationship Id="rId13" Type="http://schemas.openxmlformats.org/officeDocument/2006/relationships/tags" Target="../tags/tag906.xml"/><Relationship Id="rId18" Type="http://schemas.openxmlformats.org/officeDocument/2006/relationships/tags" Target="../tags/tag911.xml"/><Relationship Id="rId39" Type="http://schemas.openxmlformats.org/officeDocument/2006/relationships/tags" Target="../tags/tag932.xml"/><Relationship Id="rId109" Type="http://schemas.openxmlformats.org/officeDocument/2006/relationships/tags" Target="../tags/tag1002.xml"/><Relationship Id="rId34" Type="http://schemas.openxmlformats.org/officeDocument/2006/relationships/tags" Target="../tags/tag927.xml"/><Relationship Id="rId50" Type="http://schemas.openxmlformats.org/officeDocument/2006/relationships/tags" Target="../tags/tag943.xml"/><Relationship Id="rId55" Type="http://schemas.openxmlformats.org/officeDocument/2006/relationships/tags" Target="../tags/tag948.xml"/><Relationship Id="rId76" Type="http://schemas.openxmlformats.org/officeDocument/2006/relationships/tags" Target="../tags/tag969.xml"/><Relationship Id="rId97" Type="http://schemas.openxmlformats.org/officeDocument/2006/relationships/tags" Target="../tags/tag990.xml"/><Relationship Id="rId104" Type="http://schemas.openxmlformats.org/officeDocument/2006/relationships/tags" Target="../tags/tag997.xml"/><Relationship Id="rId120" Type="http://schemas.openxmlformats.org/officeDocument/2006/relationships/tags" Target="../tags/tag1013.xml"/><Relationship Id="rId125" Type="http://schemas.openxmlformats.org/officeDocument/2006/relationships/tags" Target="../tags/tag1018.xml"/><Relationship Id="rId141" Type="http://schemas.openxmlformats.org/officeDocument/2006/relationships/slideLayout" Target="../slideLayouts/slideLayout2.xml"/><Relationship Id="rId146" Type="http://schemas.openxmlformats.org/officeDocument/2006/relationships/chart" Target="../charts/chart31.xml"/><Relationship Id="rId7" Type="http://schemas.openxmlformats.org/officeDocument/2006/relationships/tags" Target="../tags/tag900.xml"/><Relationship Id="rId71" Type="http://schemas.openxmlformats.org/officeDocument/2006/relationships/tags" Target="../tags/tag964.xml"/><Relationship Id="rId92" Type="http://schemas.openxmlformats.org/officeDocument/2006/relationships/tags" Target="../tags/tag985.xml"/><Relationship Id="rId2" Type="http://schemas.openxmlformats.org/officeDocument/2006/relationships/tags" Target="../tags/tag895.xml"/><Relationship Id="rId29" Type="http://schemas.openxmlformats.org/officeDocument/2006/relationships/tags" Target="../tags/tag922.xml"/><Relationship Id="rId24" Type="http://schemas.openxmlformats.org/officeDocument/2006/relationships/tags" Target="../tags/tag917.xml"/><Relationship Id="rId40" Type="http://schemas.openxmlformats.org/officeDocument/2006/relationships/tags" Target="../tags/tag933.xml"/><Relationship Id="rId45" Type="http://schemas.openxmlformats.org/officeDocument/2006/relationships/tags" Target="../tags/tag938.xml"/><Relationship Id="rId66" Type="http://schemas.openxmlformats.org/officeDocument/2006/relationships/tags" Target="../tags/tag959.xml"/><Relationship Id="rId87" Type="http://schemas.openxmlformats.org/officeDocument/2006/relationships/tags" Target="../tags/tag980.xml"/><Relationship Id="rId110" Type="http://schemas.openxmlformats.org/officeDocument/2006/relationships/tags" Target="../tags/tag1003.xml"/><Relationship Id="rId115" Type="http://schemas.openxmlformats.org/officeDocument/2006/relationships/tags" Target="../tags/tag1008.xml"/><Relationship Id="rId131" Type="http://schemas.openxmlformats.org/officeDocument/2006/relationships/tags" Target="../tags/tag1024.xml"/><Relationship Id="rId136" Type="http://schemas.openxmlformats.org/officeDocument/2006/relationships/tags" Target="../tags/tag1029.xml"/><Relationship Id="rId61" Type="http://schemas.openxmlformats.org/officeDocument/2006/relationships/tags" Target="../tags/tag954.xml"/><Relationship Id="rId82" Type="http://schemas.openxmlformats.org/officeDocument/2006/relationships/tags" Target="../tags/tag975.xml"/><Relationship Id="rId19" Type="http://schemas.openxmlformats.org/officeDocument/2006/relationships/tags" Target="../tags/tag912.xml"/><Relationship Id="rId14" Type="http://schemas.openxmlformats.org/officeDocument/2006/relationships/tags" Target="../tags/tag907.xml"/><Relationship Id="rId30" Type="http://schemas.openxmlformats.org/officeDocument/2006/relationships/tags" Target="../tags/tag923.xml"/><Relationship Id="rId35" Type="http://schemas.openxmlformats.org/officeDocument/2006/relationships/tags" Target="../tags/tag928.xml"/><Relationship Id="rId56" Type="http://schemas.openxmlformats.org/officeDocument/2006/relationships/tags" Target="../tags/tag949.xml"/><Relationship Id="rId77" Type="http://schemas.openxmlformats.org/officeDocument/2006/relationships/tags" Target="../tags/tag970.xml"/><Relationship Id="rId100" Type="http://schemas.openxmlformats.org/officeDocument/2006/relationships/tags" Target="../tags/tag993.xml"/><Relationship Id="rId105" Type="http://schemas.openxmlformats.org/officeDocument/2006/relationships/tags" Target="../tags/tag998.xml"/><Relationship Id="rId126" Type="http://schemas.openxmlformats.org/officeDocument/2006/relationships/tags" Target="../tags/tag1019.xml"/><Relationship Id="rId147" Type="http://schemas.openxmlformats.org/officeDocument/2006/relationships/chart" Target="../charts/chart32.xml"/><Relationship Id="rId8" Type="http://schemas.openxmlformats.org/officeDocument/2006/relationships/tags" Target="../tags/tag901.xml"/><Relationship Id="rId51" Type="http://schemas.openxmlformats.org/officeDocument/2006/relationships/tags" Target="../tags/tag944.xml"/><Relationship Id="rId72" Type="http://schemas.openxmlformats.org/officeDocument/2006/relationships/tags" Target="../tags/tag965.xml"/><Relationship Id="rId93" Type="http://schemas.openxmlformats.org/officeDocument/2006/relationships/tags" Target="../tags/tag986.xml"/><Relationship Id="rId98" Type="http://schemas.openxmlformats.org/officeDocument/2006/relationships/tags" Target="../tags/tag991.xml"/><Relationship Id="rId121" Type="http://schemas.openxmlformats.org/officeDocument/2006/relationships/tags" Target="../tags/tag1014.xml"/><Relationship Id="rId142" Type="http://schemas.openxmlformats.org/officeDocument/2006/relationships/notesSlide" Target="../notesSlides/notesSlide10.xml"/><Relationship Id="rId3" Type="http://schemas.openxmlformats.org/officeDocument/2006/relationships/tags" Target="../tags/tag896.xml"/><Relationship Id="rId25" Type="http://schemas.openxmlformats.org/officeDocument/2006/relationships/tags" Target="../tags/tag918.xml"/><Relationship Id="rId46" Type="http://schemas.openxmlformats.org/officeDocument/2006/relationships/tags" Target="../tags/tag939.xml"/><Relationship Id="rId67" Type="http://schemas.openxmlformats.org/officeDocument/2006/relationships/tags" Target="../tags/tag960.xml"/><Relationship Id="rId116" Type="http://schemas.openxmlformats.org/officeDocument/2006/relationships/tags" Target="../tags/tag1009.xml"/><Relationship Id="rId137" Type="http://schemas.openxmlformats.org/officeDocument/2006/relationships/tags" Target="../tags/tag1030.xml"/><Relationship Id="rId20" Type="http://schemas.openxmlformats.org/officeDocument/2006/relationships/tags" Target="../tags/tag913.xml"/><Relationship Id="rId41" Type="http://schemas.openxmlformats.org/officeDocument/2006/relationships/tags" Target="../tags/tag934.xml"/><Relationship Id="rId62" Type="http://schemas.openxmlformats.org/officeDocument/2006/relationships/tags" Target="../tags/tag955.xml"/><Relationship Id="rId83" Type="http://schemas.openxmlformats.org/officeDocument/2006/relationships/tags" Target="../tags/tag976.xml"/><Relationship Id="rId88" Type="http://schemas.openxmlformats.org/officeDocument/2006/relationships/tags" Target="../tags/tag981.xml"/><Relationship Id="rId111" Type="http://schemas.openxmlformats.org/officeDocument/2006/relationships/tags" Target="../tags/tag1004.xml"/><Relationship Id="rId132" Type="http://schemas.openxmlformats.org/officeDocument/2006/relationships/tags" Target="../tags/tag1025.xml"/><Relationship Id="rId15" Type="http://schemas.openxmlformats.org/officeDocument/2006/relationships/tags" Target="../tags/tag908.xml"/><Relationship Id="rId36" Type="http://schemas.openxmlformats.org/officeDocument/2006/relationships/tags" Target="../tags/tag929.xml"/><Relationship Id="rId57" Type="http://schemas.openxmlformats.org/officeDocument/2006/relationships/tags" Target="../tags/tag950.xml"/><Relationship Id="rId106" Type="http://schemas.openxmlformats.org/officeDocument/2006/relationships/tags" Target="../tags/tag999.xml"/><Relationship Id="rId127" Type="http://schemas.openxmlformats.org/officeDocument/2006/relationships/tags" Target="../tags/tag1020.xml"/><Relationship Id="rId10" Type="http://schemas.openxmlformats.org/officeDocument/2006/relationships/tags" Target="../tags/tag903.xml"/><Relationship Id="rId31" Type="http://schemas.openxmlformats.org/officeDocument/2006/relationships/tags" Target="../tags/tag924.xml"/><Relationship Id="rId52" Type="http://schemas.openxmlformats.org/officeDocument/2006/relationships/tags" Target="../tags/tag945.xml"/><Relationship Id="rId73" Type="http://schemas.openxmlformats.org/officeDocument/2006/relationships/tags" Target="../tags/tag966.xml"/><Relationship Id="rId78" Type="http://schemas.openxmlformats.org/officeDocument/2006/relationships/tags" Target="../tags/tag971.xml"/><Relationship Id="rId94" Type="http://schemas.openxmlformats.org/officeDocument/2006/relationships/tags" Target="../tags/tag987.xml"/><Relationship Id="rId99" Type="http://schemas.openxmlformats.org/officeDocument/2006/relationships/tags" Target="../tags/tag992.xml"/><Relationship Id="rId101" Type="http://schemas.openxmlformats.org/officeDocument/2006/relationships/tags" Target="../tags/tag994.xml"/><Relationship Id="rId122" Type="http://schemas.openxmlformats.org/officeDocument/2006/relationships/tags" Target="../tags/tag1015.xml"/><Relationship Id="rId143" Type="http://schemas.openxmlformats.org/officeDocument/2006/relationships/oleObject" Target="../embeddings/oleObject11.bin"/><Relationship Id="rId148" Type="http://schemas.openxmlformats.org/officeDocument/2006/relationships/chart" Target="../charts/chart33.xml"/><Relationship Id="rId4" Type="http://schemas.openxmlformats.org/officeDocument/2006/relationships/tags" Target="../tags/tag897.xml"/><Relationship Id="rId9" Type="http://schemas.openxmlformats.org/officeDocument/2006/relationships/tags" Target="../tags/tag902.xml"/><Relationship Id="rId26" Type="http://schemas.openxmlformats.org/officeDocument/2006/relationships/tags" Target="../tags/tag919.xml"/><Relationship Id="rId47" Type="http://schemas.openxmlformats.org/officeDocument/2006/relationships/tags" Target="../tags/tag940.xml"/><Relationship Id="rId68" Type="http://schemas.openxmlformats.org/officeDocument/2006/relationships/tags" Target="../tags/tag961.xml"/><Relationship Id="rId89" Type="http://schemas.openxmlformats.org/officeDocument/2006/relationships/tags" Target="../tags/tag982.xml"/><Relationship Id="rId112" Type="http://schemas.openxmlformats.org/officeDocument/2006/relationships/tags" Target="../tags/tag1005.xml"/><Relationship Id="rId133" Type="http://schemas.openxmlformats.org/officeDocument/2006/relationships/tags" Target="../tags/tag1026.xml"/><Relationship Id="rId16" Type="http://schemas.openxmlformats.org/officeDocument/2006/relationships/tags" Target="../tags/tag909.xml"/><Relationship Id="rId37" Type="http://schemas.openxmlformats.org/officeDocument/2006/relationships/tags" Target="../tags/tag930.xml"/><Relationship Id="rId58" Type="http://schemas.openxmlformats.org/officeDocument/2006/relationships/tags" Target="../tags/tag951.xml"/><Relationship Id="rId79" Type="http://schemas.openxmlformats.org/officeDocument/2006/relationships/tags" Target="../tags/tag972.xml"/><Relationship Id="rId102" Type="http://schemas.openxmlformats.org/officeDocument/2006/relationships/tags" Target="../tags/tag995.xml"/><Relationship Id="rId123" Type="http://schemas.openxmlformats.org/officeDocument/2006/relationships/tags" Target="../tags/tag1016.xml"/><Relationship Id="rId14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1150.xml"/><Relationship Id="rId21" Type="http://schemas.openxmlformats.org/officeDocument/2006/relationships/tags" Target="../tags/tag1054.xml"/><Relationship Id="rId42" Type="http://schemas.openxmlformats.org/officeDocument/2006/relationships/tags" Target="../tags/tag1075.xml"/><Relationship Id="rId63" Type="http://schemas.openxmlformats.org/officeDocument/2006/relationships/tags" Target="../tags/tag1096.xml"/><Relationship Id="rId84" Type="http://schemas.openxmlformats.org/officeDocument/2006/relationships/tags" Target="../tags/tag1117.xml"/><Relationship Id="rId138" Type="http://schemas.openxmlformats.org/officeDocument/2006/relationships/tags" Target="../tags/tag1171.xml"/><Relationship Id="rId107" Type="http://schemas.openxmlformats.org/officeDocument/2006/relationships/tags" Target="../tags/tag1140.xml"/><Relationship Id="rId11" Type="http://schemas.openxmlformats.org/officeDocument/2006/relationships/tags" Target="../tags/tag1044.xml"/><Relationship Id="rId32" Type="http://schemas.openxmlformats.org/officeDocument/2006/relationships/tags" Target="../tags/tag1065.xml"/><Relationship Id="rId53" Type="http://schemas.openxmlformats.org/officeDocument/2006/relationships/tags" Target="../tags/tag1086.xml"/><Relationship Id="rId74" Type="http://schemas.openxmlformats.org/officeDocument/2006/relationships/tags" Target="../tags/tag1107.xml"/><Relationship Id="rId128" Type="http://schemas.openxmlformats.org/officeDocument/2006/relationships/tags" Target="../tags/tag1161.xml"/><Relationship Id="rId149" Type="http://schemas.openxmlformats.org/officeDocument/2006/relationships/chart" Target="../charts/chart36.xml"/><Relationship Id="rId5" Type="http://schemas.openxmlformats.org/officeDocument/2006/relationships/tags" Target="../tags/tag1038.xml"/><Relationship Id="rId95" Type="http://schemas.openxmlformats.org/officeDocument/2006/relationships/tags" Target="../tags/tag1128.xml"/><Relationship Id="rId22" Type="http://schemas.openxmlformats.org/officeDocument/2006/relationships/tags" Target="../tags/tag1055.xml"/><Relationship Id="rId27" Type="http://schemas.openxmlformats.org/officeDocument/2006/relationships/tags" Target="../tags/tag1060.xml"/><Relationship Id="rId43" Type="http://schemas.openxmlformats.org/officeDocument/2006/relationships/tags" Target="../tags/tag1076.xml"/><Relationship Id="rId48" Type="http://schemas.openxmlformats.org/officeDocument/2006/relationships/tags" Target="../tags/tag1081.xml"/><Relationship Id="rId64" Type="http://schemas.openxmlformats.org/officeDocument/2006/relationships/tags" Target="../tags/tag1097.xml"/><Relationship Id="rId69" Type="http://schemas.openxmlformats.org/officeDocument/2006/relationships/tags" Target="../tags/tag1102.xml"/><Relationship Id="rId113" Type="http://schemas.openxmlformats.org/officeDocument/2006/relationships/tags" Target="../tags/tag1146.xml"/><Relationship Id="rId118" Type="http://schemas.openxmlformats.org/officeDocument/2006/relationships/tags" Target="../tags/tag1151.xml"/><Relationship Id="rId134" Type="http://schemas.openxmlformats.org/officeDocument/2006/relationships/tags" Target="../tags/tag1167.xml"/><Relationship Id="rId139" Type="http://schemas.openxmlformats.org/officeDocument/2006/relationships/tags" Target="../tags/tag1172.xml"/><Relationship Id="rId80" Type="http://schemas.openxmlformats.org/officeDocument/2006/relationships/tags" Target="../tags/tag1113.xml"/><Relationship Id="rId85" Type="http://schemas.openxmlformats.org/officeDocument/2006/relationships/tags" Target="../tags/tag1118.xml"/><Relationship Id="rId150" Type="http://schemas.openxmlformats.org/officeDocument/2006/relationships/chart" Target="../charts/chart37.xml"/><Relationship Id="rId12" Type="http://schemas.openxmlformats.org/officeDocument/2006/relationships/tags" Target="../tags/tag1045.xml"/><Relationship Id="rId17" Type="http://schemas.openxmlformats.org/officeDocument/2006/relationships/tags" Target="../tags/tag1050.xml"/><Relationship Id="rId33" Type="http://schemas.openxmlformats.org/officeDocument/2006/relationships/tags" Target="../tags/tag1066.xml"/><Relationship Id="rId38" Type="http://schemas.openxmlformats.org/officeDocument/2006/relationships/tags" Target="../tags/tag1071.xml"/><Relationship Id="rId59" Type="http://schemas.openxmlformats.org/officeDocument/2006/relationships/tags" Target="../tags/tag1092.xml"/><Relationship Id="rId103" Type="http://schemas.openxmlformats.org/officeDocument/2006/relationships/tags" Target="../tags/tag1136.xml"/><Relationship Id="rId108" Type="http://schemas.openxmlformats.org/officeDocument/2006/relationships/tags" Target="../tags/tag1141.xml"/><Relationship Id="rId124" Type="http://schemas.openxmlformats.org/officeDocument/2006/relationships/tags" Target="../tags/tag1157.xml"/><Relationship Id="rId129" Type="http://schemas.openxmlformats.org/officeDocument/2006/relationships/tags" Target="../tags/tag1162.xml"/><Relationship Id="rId54" Type="http://schemas.openxmlformats.org/officeDocument/2006/relationships/tags" Target="../tags/tag1087.xml"/><Relationship Id="rId70" Type="http://schemas.openxmlformats.org/officeDocument/2006/relationships/tags" Target="../tags/tag1103.xml"/><Relationship Id="rId75" Type="http://schemas.openxmlformats.org/officeDocument/2006/relationships/tags" Target="../tags/tag1108.xml"/><Relationship Id="rId91" Type="http://schemas.openxmlformats.org/officeDocument/2006/relationships/tags" Target="../tags/tag1124.xml"/><Relationship Id="rId96" Type="http://schemas.openxmlformats.org/officeDocument/2006/relationships/tags" Target="../tags/tag1129.xml"/><Relationship Id="rId140" Type="http://schemas.openxmlformats.org/officeDocument/2006/relationships/tags" Target="../tags/tag1173.xml"/><Relationship Id="rId145" Type="http://schemas.openxmlformats.org/officeDocument/2006/relationships/oleObject" Target="../embeddings/oleObject12.bin"/><Relationship Id="rId1" Type="http://schemas.openxmlformats.org/officeDocument/2006/relationships/tags" Target="../tags/tag1034.xml"/><Relationship Id="rId6" Type="http://schemas.openxmlformats.org/officeDocument/2006/relationships/tags" Target="../tags/tag1039.xml"/><Relationship Id="rId23" Type="http://schemas.openxmlformats.org/officeDocument/2006/relationships/tags" Target="../tags/tag1056.xml"/><Relationship Id="rId28" Type="http://schemas.openxmlformats.org/officeDocument/2006/relationships/tags" Target="../tags/tag1061.xml"/><Relationship Id="rId49" Type="http://schemas.openxmlformats.org/officeDocument/2006/relationships/tags" Target="../tags/tag1082.xml"/><Relationship Id="rId114" Type="http://schemas.openxmlformats.org/officeDocument/2006/relationships/tags" Target="../tags/tag1147.xml"/><Relationship Id="rId119" Type="http://schemas.openxmlformats.org/officeDocument/2006/relationships/tags" Target="../tags/tag1152.xml"/><Relationship Id="rId44" Type="http://schemas.openxmlformats.org/officeDocument/2006/relationships/tags" Target="../tags/tag1077.xml"/><Relationship Id="rId60" Type="http://schemas.openxmlformats.org/officeDocument/2006/relationships/tags" Target="../tags/tag1093.xml"/><Relationship Id="rId65" Type="http://schemas.openxmlformats.org/officeDocument/2006/relationships/tags" Target="../tags/tag1098.xml"/><Relationship Id="rId81" Type="http://schemas.openxmlformats.org/officeDocument/2006/relationships/tags" Target="../tags/tag1114.xml"/><Relationship Id="rId86" Type="http://schemas.openxmlformats.org/officeDocument/2006/relationships/tags" Target="../tags/tag1119.xml"/><Relationship Id="rId130" Type="http://schemas.openxmlformats.org/officeDocument/2006/relationships/tags" Target="../tags/tag1163.xml"/><Relationship Id="rId135" Type="http://schemas.openxmlformats.org/officeDocument/2006/relationships/tags" Target="../tags/tag1168.xml"/><Relationship Id="rId13" Type="http://schemas.openxmlformats.org/officeDocument/2006/relationships/tags" Target="../tags/tag1046.xml"/><Relationship Id="rId18" Type="http://schemas.openxmlformats.org/officeDocument/2006/relationships/tags" Target="../tags/tag1051.xml"/><Relationship Id="rId39" Type="http://schemas.openxmlformats.org/officeDocument/2006/relationships/tags" Target="../tags/tag1072.xml"/><Relationship Id="rId109" Type="http://schemas.openxmlformats.org/officeDocument/2006/relationships/tags" Target="../tags/tag1142.xml"/><Relationship Id="rId34" Type="http://schemas.openxmlformats.org/officeDocument/2006/relationships/tags" Target="../tags/tag1067.xml"/><Relationship Id="rId50" Type="http://schemas.openxmlformats.org/officeDocument/2006/relationships/tags" Target="../tags/tag1083.xml"/><Relationship Id="rId55" Type="http://schemas.openxmlformats.org/officeDocument/2006/relationships/tags" Target="../tags/tag1088.xml"/><Relationship Id="rId76" Type="http://schemas.openxmlformats.org/officeDocument/2006/relationships/tags" Target="../tags/tag1109.xml"/><Relationship Id="rId97" Type="http://schemas.openxmlformats.org/officeDocument/2006/relationships/tags" Target="../tags/tag1130.xml"/><Relationship Id="rId104" Type="http://schemas.openxmlformats.org/officeDocument/2006/relationships/tags" Target="../tags/tag1137.xml"/><Relationship Id="rId120" Type="http://schemas.openxmlformats.org/officeDocument/2006/relationships/tags" Target="../tags/tag1153.xml"/><Relationship Id="rId125" Type="http://schemas.openxmlformats.org/officeDocument/2006/relationships/tags" Target="../tags/tag1158.xml"/><Relationship Id="rId141" Type="http://schemas.openxmlformats.org/officeDocument/2006/relationships/tags" Target="../tags/tag1174.xml"/><Relationship Id="rId146" Type="http://schemas.openxmlformats.org/officeDocument/2006/relationships/image" Target="../media/image10.emf"/><Relationship Id="rId7" Type="http://schemas.openxmlformats.org/officeDocument/2006/relationships/tags" Target="../tags/tag1040.xml"/><Relationship Id="rId71" Type="http://schemas.openxmlformats.org/officeDocument/2006/relationships/tags" Target="../tags/tag1104.xml"/><Relationship Id="rId92" Type="http://schemas.openxmlformats.org/officeDocument/2006/relationships/tags" Target="../tags/tag1125.xml"/><Relationship Id="rId2" Type="http://schemas.openxmlformats.org/officeDocument/2006/relationships/tags" Target="../tags/tag1035.xml"/><Relationship Id="rId29" Type="http://schemas.openxmlformats.org/officeDocument/2006/relationships/tags" Target="../tags/tag1062.xml"/><Relationship Id="rId24" Type="http://schemas.openxmlformats.org/officeDocument/2006/relationships/tags" Target="../tags/tag1057.xml"/><Relationship Id="rId40" Type="http://schemas.openxmlformats.org/officeDocument/2006/relationships/tags" Target="../tags/tag1073.xml"/><Relationship Id="rId45" Type="http://schemas.openxmlformats.org/officeDocument/2006/relationships/tags" Target="../tags/tag1078.xml"/><Relationship Id="rId66" Type="http://schemas.openxmlformats.org/officeDocument/2006/relationships/tags" Target="../tags/tag1099.xml"/><Relationship Id="rId87" Type="http://schemas.openxmlformats.org/officeDocument/2006/relationships/tags" Target="../tags/tag1120.xml"/><Relationship Id="rId110" Type="http://schemas.openxmlformats.org/officeDocument/2006/relationships/tags" Target="../tags/tag1143.xml"/><Relationship Id="rId115" Type="http://schemas.openxmlformats.org/officeDocument/2006/relationships/tags" Target="../tags/tag1148.xml"/><Relationship Id="rId131" Type="http://schemas.openxmlformats.org/officeDocument/2006/relationships/tags" Target="../tags/tag1164.xml"/><Relationship Id="rId136" Type="http://schemas.openxmlformats.org/officeDocument/2006/relationships/tags" Target="../tags/tag1169.xml"/><Relationship Id="rId61" Type="http://schemas.openxmlformats.org/officeDocument/2006/relationships/tags" Target="../tags/tag1094.xml"/><Relationship Id="rId82" Type="http://schemas.openxmlformats.org/officeDocument/2006/relationships/tags" Target="../tags/tag1115.xml"/><Relationship Id="rId19" Type="http://schemas.openxmlformats.org/officeDocument/2006/relationships/tags" Target="../tags/tag1052.xml"/><Relationship Id="rId14" Type="http://schemas.openxmlformats.org/officeDocument/2006/relationships/tags" Target="../tags/tag1047.xml"/><Relationship Id="rId30" Type="http://schemas.openxmlformats.org/officeDocument/2006/relationships/tags" Target="../tags/tag1063.xml"/><Relationship Id="rId35" Type="http://schemas.openxmlformats.org/officeDocument/2006/relationships/tags" Target="../tags/tag1068.xml"/><Relationship Id="rId56" Type="http://schemas.openxmlformats.org/officeDocument/2006/relationships/tags" Target="../tags/tag1089.xml"/><Relationship Id="rId77" Type="http://schemas.openxmlformats.org/officeDocument/2006/relationships/tags" Target="../tags/tag1110.xml"/><Relationship Id="rId100" Type="http://schemas.openxmlformats.org/officeDocument/2006/relationships/tags" Target="../tags/tag1133.xml"/><Relationship Id="rId105" Type="http://schemas.openxmlformats.org/officeDocument/2006/relationships/tags" Target="../tags/tag1138.xml"/><Relationship Id="rId126" Type="http://schemas.openxmlformats.org/officeDocument/2006/relationships/tags" Target="../tags/tag1159.xml"/><Relationship Id="rId147" Type="http://schemas.openxmlformats.org/officeDocument/2006/relationships/chart" Target="../charts/chart34.xml"/><Relationship Id="rId8" Type="http://schemas.openxmlformats.org/officeDocument/2006/relationships/tags" Target="../tags/tag1041.xml"/><Relationship Id="rId51" Type="http://schemas.openxmlformats.org/officeDocument/2006/relationships/tags" Target="../tags/tag1084.xml"/><Relationship Id="rId72" Type="http://schemas.openxmlformats.org/officeDocument/2006/relationships/tags" Target="../tags/tag1105.xml"/><Relationship Id="rId93" Type="http://schemas.openxmlformats.org/officeDocument/2006/relationships/tags" Target="../tags/tag1126.xml"/><Relationship Id="rId98" Type="http://schemas.openxmlformats.org/officeDocument/2006/relationships/tags" Target="../tags/tag1131.xml"/><Relationship Id="rId121" Type="http://schemas.openxmlformats.org/officeDocument/2006/relationships/tags" Target="../tags/tag1154.xml"/><Relationship Id="rId142" Type="http://schemas.openxmlformats.org/officeDocument/2006/relationships/tags" Target="../tags/tag1175.xml"/><Relationship Id="rId3" Type="http://schemas.openxmlformats.org/officeDocument/2006/relationships/tags" Target="../tags/tag1036.xml"/><Relationship Id="rId25" Type="http://schemas.openxmlformats.org/officeDocument/2006/relationships/tags" Target="../tags/tag1058.xml"/><Relationship Id="rId46" Type="http://schemas.openxmlformats.org/officeDocument/2006/relationships/tags" Target="../tags/tag1079.xml"/><Relationship Id="rId67" Type="http://schemas.openxmlformats.org/officeDocument/2006/relationships/tags" Target="../tags/tag1100.xml"/><Relationship Id="rId116" Type="http://schemas.openxmlformats.org/officeDocument/2006/relationships/tags" Target="../tags/tag1149.xml"/><Relationship Id="rId137" Type="http://schemas.openxmlformats.org/officeDocument/2006/relationships/tags" Target="../tags/tag1170.xml"/><Relationship Id="rId20" Type="http://schemas.openxmlformats.org/officeDocument/2006/relationships/tags" Target="../tags/tag1053.xml"/><Relationship Id="rId41" Type="http://schemas.openxmlformats.org/officeDocument/2006/relationships/tags" Target="../tags/tag1074.xml"/><Relationship Id="rId62" Type="http://schemas.openxmlformats.org/officeDocument/2006/relationships/tags" Target="../tags/tag1095.xml"/><Relationship Id="rId83" Type="http://schemas.openxmlformats.org/officeDocument/2006/relationships/tags" Target="../tags/tag1116.xml"/><Relationship Id="rId88" Type="http://schemas.openxmlformats.org/officeDocument/2006/relationships/tags" Target="../tags/tag1121.xml"/><Relationship Id="rId111" Type="http://schemas.openxmlformats.org/officeDocument/2006/relationships/tags" Target="../tags/tag1144.xml"/><Relationship Id="rId132" Type="http://schemas.openxmlformats.org/officeDocument/2006/relationships/tags" Target="../tags/tag1165.xml"/><Relationship Id="rId15" Type="http://schemas.openxmlformats.org/officeDocument/2006/relationships/tags" Target="../tags/tag1048.xml"/><Relationship Id="rId36" Type="http://schemas.openxmlformats.org/officeDocument/2006/relationships/tags" Target="../tags/tag1069.xml"/><Relationship Id="rId57" Type="http://schemas.openxmlformats.org/officeDocument/2006/relationships/tags" Target="../tags/tag1090.xml"/><Relationship Id="rId106" Type="http://schemas.openxmlformats.org/officeDocument/2006/relationships/tags" Target="../tags/tag1139.xml"/><Relationship Id="rId127" Type="http://schemas.openxmlformats.org/officeDocument/2006/relationships/tags" Target="../tags/tag1160.xml"/><Relationship Id="rId10" Type="http://schemas.openxmlformats.org/officeDocument/2006/relationships/tags" Target="../tags/tag1043.xml"/><Relationship Id="rId31" Type="http://schemas.openxmlformats.org/officeDocument/2006/relationships/tags" Target="../tags/tag1064.xml"/><Relationship Id="rId52" Type="http://schemas.openxmlformats.org/officeDocument/2006/relationships/tags" Target="../tags/tag1085.xml"/><Relationship Id="rId73" Type="http://schemas.openxmlformats.org/officeDocument/2006/relationships/tags" Target="../tags/tag1106.xml"/><Relationship Id="rId78" Type="http://schemas.openxmlformats.org/officeDocument/2006/relationships/tags" Target="../tags/tag1111.xml"/><Relationship Id="rId94" Type="http://schemas.openxmlformats.org/officeDocument/2006/relationships/tags" Target="../tags/tag1127.xml"/><Relationship Id="rId99" Type="http://schemas.openxmlformats.org/officeDocument/2006/relationships/tags" Target="../tags/tag1132.xml"/><Relationship Id="rId101" Type="http://schemas.openxmlformats.org/officeDocument/2006/relationships/tags" Target="../tags/tag1134.xml"/><Relationship Id="rId122" Type="http://schemas.openxmlformats.org/officeDocument/2006/relationships/tags" Target="../tags/tag1155.xml"/><Relationship Id="rId143" Type="http://schemas.openxmlformats.org/officeDocument/2006/relationships/slideLayout" Target="../slideLayouts/slideLayout2.xml"/><Relationship Id="rId148" Type="http://schemas.openxmlformats.org/officeDocument/2006/relationships/chart" Target="../charts/chart35.xml"/><Relationship Id="rId4" Type="http://schemas.openxmlformats.org/officeDocument/2006/relationships/tags" Target="../tags/tag1037.xml"/><Relationship Id="rId9" Type="http://schemas.openxmlformats.org/officeDocument/2006/relationships/tags" Target="../tags/tag1042.xml"/><Relationship Id="rId26" Type="http://schemas.openxmlformats.org/officeDocument/2006/relationships/tags" Target="../tags/tag1059.xml"/><Relationship Id="rId47" Type="http://schemas.openxmlformats.org/officeDocument/2006/relationships/tags" Target="../tags/tag1080.xml"/><Relationship Id="rId68" Type="http://schemas.openxmlformats.org/officeDocument/2006/relationships/tags" Target="../tags/tag1101.xml"/><Relationship Id="rId89" Type="http://schemas.openxmlformats.org/officeDocument/2006/relationships/tags" Target="../tags/tag1122.xml"/><Relationship Id="rId112" Type="http://schemas.openxmlformats.org/officeDocument/2006/relationships/tags" Target="../tags/tag1145.xml"/><Relationship Id="rId133" Type="http://schemas.openxmlformats.org/officeDocument/2006/relationships/tags" Target="../tags/tag1166.xml"/><Relationship Id="rId16" Type="http://schemas.openxmlformats.org/officeDocument/2006/relationships/tags" Target="../tags/tag1049.xml"/><Relationship Id="rId37" Type="http://schemas.openxmlformats.org/officeDocument/2006/relationships/tags" Target="../tags/tag1070.xml"/><Relationship Id="rId58" Type="http://schemas.openxmlformats.org/officeDocument/2006/relationships/tags" Target="../tags/tag1091.xml"/><Relationship Id="rId79" Type="http://schemas.openxmlformats.org/officeDocument/2006/relationships/tags" Target="../tags/tag1112.xml"/><Relationship Id="rId102" Type="http://schemas.openxmlformats.org/officeDocument/2006/relationships/tags" Target="../tags/tag1135.xml"/><Relationship Id="rId123" Type="http://schemas.openxmlformats.org/officeDocument/2006/relationships/tags" Target="../tags/tag1156.xml"/><Relationship Id="rId144" Type="http://schemas.openxmlformats.org/officeDocument/2006/relationships/notesSlide" Target="../notesSlides/notesSlide11.xml"/><Relationship Id="rId90" Type="http://schemas.openxmlformats.org/officeDocument/2006/relationships/tags" Target="../tags/tag1123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292.xml"/><Relationship Id="rId21" Type="http://schemas.openxmlformats.org/officeDocument/2006/relationships/tags" Target="../tags/tag1196.xml"/><Relationship Id="rId42" Type="http://schemas.openxmlformats.org/officeDocument/2006/relationships/tags" Target="../tags/tag1217.xml"/><Relationship Id="rId63" Type="http://schemas.openxmlformats.org/officeDocument/2006/relationships/tags" Target="../tags/tag1238.xml"/><Relationship Id="rId84" Type="http://schemas.openxmlformats.org/officeDocument/2006/relationships/tags" Target="../tags/tag1259.xml"/><Relationship Id="rId16" Type="http://schemas.openxmlformats.org/officeDocument/2006/relationships/tags" Target="../tags/tag1191.xml"/><Relationship Id="rId107" Type="http://schemas.openxmlformats.org/officeDocument/2006/relationships/tags" Target="../tags/tag1282.xml"/><Relationship Id="rId11" Type="http://schemas.openxmlformats.org/officeDocument/2006/relationships/tags" Target="../tags/tag1186.xml"/><Relationship Id="rId32" Type="http://schemas.openxmlformats.org/officeDocument/2006/relationships/tags" Target="../tags/tag1207.xml"/><Relationship Id="rId37" Type="http://schemas.openxmlformats.org/officeDocument/2006/relationships/tags" Target="../tags/tag1212.xml"/><Relationship Id="rId53" Type="http://schemas.openxmlformats.org/officeDocument/2006/relationships/tags" Target="../tags/tag1228.xml"/><Relationship Id="rId58" Type="http://schemas.openxmlformats.org/officeDocument/2006/relationships/tags" Target="../tags/tag1233.xml"/><Relationship Id="rId74" Type="http://schemas.openxmlformats.org/officeDocument/2006/relationships/tags" Target="../tags/tag1249.xml"/><Relationship Id="rId79" Type="http://schemas.openxmlformats.org/officeDocument/2006/relationships/tags" Target="../tags/tag1254.xml"/><Relationship Id="rId102" Type="http://schemas.openxmlformats.org/officeDocument/2006/relationships/tags" Target="../tags/tag1277.xml"/><Relationship Id="rId123" Type="http://schemas.openxmlformats.org/officeDocument/2006/relationships/tags" Target="../tags/tag1298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1180.xml"/><Relationship Id="rId90" Type="http://schemas.openxmlformats.org/officeDocument/2006/relationships/tags" Target="../tags/tag1265.xml"/><Relationship Id="rId95" Type="http://schemas.openxmlformats.org/officeDocument/2006/relationships/tags" Target="../tags/tag1270.xml"/><Relationship Id="rId22" Type="http://schemas.openxmlformats.org/officeDocument/2006/relationships/tags" Target="../tags/tag1197.xml"/><Relationship Id="rId27" Type="http://schemas.openxmlformats.org/officeDocument/2006/relationships/tags" Target="../tags/tag1202.xml"/><Relationship Id="rId43" Type="http://schemas.openxmlformats.org/officeDocument/2006/relationships/tags" Target="../tags/tag1218.xml"/><Relationship Id="rId48" Type="http://schemas.openxmlformats.org/officeDocument/2006/relationships/tags" Target="../tags/tag1223.xml"/><Relationship Id="rId64" Type="http://schemas.openxmlformats.org/officeDocument/2006/relationships/tags" Target="../tags/tag1239.xml"/><Relationship Id="rId69" Type="http://schemas.openxmlformats.org/officeDocument/2006/relationships/tags" Target="../tags/tag1244.xml"/><Relationship Id="rId113" Type="http://schemas.openxmlformats.org/officeDocument/2006/relationships/tags" Target="../tags/tag1288.xml"/><Relationship Id="rId118" Type="http://schemas.openxmlformats.org/officeDocument/2006/relationships/tags" Target="../tags/tag1293.xml"/><Relationship Id="rId134" Type="http://schemas.openxmlformats.org/officeDocument/2006/relationships/chart" Target="../charts/chart40.xml"/><Relationship Id="rId80" Type="http://schemas.openxmlformats.org/officeDocument/2006/relationships/tags" Target="../tags/tag1255.xml"/><Relationship Id="rId85" Type="http://schemas.openxmlformats.org/officeDocument/2006/relationships/tags" Target="../tags/tag1260.xml"/><Relationship Id="rId12" Type="http://schemas.openxmlformats.org/officeDocument/2006/relationships/tags" Target="../tags/tag1187.xml"/><Relationship Id="rId17" Type="http://schemas.openxmlformats.org/officeDocument/2006/relationships/tags" Target="../tags/tag1192.xml"/><Relationship Id="rId33" Type="http://schemas.openxmlformats.org/officeDocument/2006/relationships/tags" Target="../tags/tag1208.xml"/><Relationship Id="rId38" Type="http://schemas.openxmlformats.org/officeDocument/2006/relationships/tags" Target="../tags/tag1213.xml"/><Relationship Id="rId59" Type="http://schemas.openxmlformats.org/officeDocument/2006/relationships/tags" Target="../tags/tag1234.xml"/><Relationship Id="rId103" Type="http://schemas.openxmlformats.org/officeDocument/2006/relationships/tags" Target="../tags/tag1278.xml"/><Relationship Id="rId108" Type="http://schemas.openxmlformats.org/officeDocument/2006/relationships/tags" Target="../tags/tag1283.xml"/><Relationship Id="rId124" Type="http://schemas.openxmlformats.org/officeDocument/2006/relationships/tags" Target="../tags/tag1299.xml"/><Relationship Id="rId129" Type="http://schemas.openxmlformats.org/officeDocument/2006/relationships/notesSlide" Target="../notesSlides/notesSlide12.xml"/><Relationship Id="rId54" Type="http://schemas.openxmlformats.org/officeDocument/2006/relationships/tags" Target="../tags/tag1229.xml"/><Relationship Id="rId70" Type="http://schemas.openxmlformats.org/officeDocument/2006/relationships/tags" Target="../tags/tag1245.xml"/><Relationship Id="rId75" Type="http://schemas.openxmlformats.org/officeDocument/2006/relationships/tags" Target="../tags/tag1250.xml"/><Relationship Id="rId91" Type="http://schemas.openxmlformats.org/officeDocument/2006/relationships/tags" Target="../tags/tag1266.xml"/><Relationship Id="rId96" Type="http://schemas.openxmlformats.org/officeDocument/2006/relationships/tags" Target="../tags/tag1271.xml"/><Relationship Id="rId1" Type="http://schemas.openxmlformats.org/officeDocument/2006/relationships/tags" Target="../tags/tag1176.xml"/><Relationship Id="rId6" Type="http://schemas.openxmlformats.org/officeDocument/2006/relationships/tags" Target="../tags/tag1181.xml"/><Relationship Id="rId23" Type="http://schemas.openxmlformats.org/officeDocument/2006/relationships/tags" Target="../tags/tag1198.xml"/><Relationship Id="rId28" Type="http://schemas.openxmlformats.org/officeDocument/2006/relationships/tags" Target="../tags/tag1203.xml"/><Relationship Id="rId49" Type="http://schemas.openxmlformats.org/officeDocument/2006/relationships/tags" Target="../tags/tag1224.xml"/><Relationship Id="rId114" Type="http://schemas.openxmlformats.org/officeDocument/2006/relationships/tags" Target="../tags/tag1289.xml"/><Relationship Id="rId119" Type="http://schemas.openxmlformats.org/officeDocument/2006/relationships/tags" Target="../tags/tag1294.xml"/><Relationship Id="rId44" Type="http://schemas.openxmlformats.org/officeDocument/2006/relationships/tags" Target="../tags/tag1219.xml"/><Relationship Id="rId60" Type="http://schemas.openxmlformats.org/officeDocument/2006/relationships/tags" Target="../tags/tag1235.xml"/><Relationship Id="rId65" Type="http://schemas.openxmlformats.org/officeDocument/2006/relationships/tags" Target="../tags/tag1240.xml"/><Relationship Id="rId81" Type="http://schemas.openxmlformats.org/officeDocument/2006/relationships/tags" Target="../tags/tag1256.xml"/><Relationship Id="rId86" Type="http://schemas.openxmlformats.org/officeDocument/2006/relationships/tags" Target="../tags/tag1261.xml"/><Relationship Id="rId130" Type="http://schemas.openxmlformats.org/officeDocument/2006/relationships/oleObject" Target="../embeddings/oleObject13.bin"/><Relationship Id="rId135" Type="http://schemas.openxmlformats.org/officeDocument/2006/relationships/chart" Target="../charts/chart41.xml"/><Relationship Id="rId13" Type="http://schemas.openxmlformats.org/officeDocument/2006/relationships/tags" Target="../tags/tag1188.xml"/><Relationship Id="rId18" Type="http://schemas.openxmlformats.org/officeDocument/2006/relationships/tags" Target="../tags/tag1193.xml"/><Relationship Id="rId39" Type="http://schemas.openxmlformats.org/officeDocument/2006/relationships/tags" Target="../tags/tag1214.xml"/><Relationship Id="rId109" Type="http://schemas.openxmlformats.org/officeDocument/2006/relationships/tags" Target="../tags/tag1284.xml"/><Relationship Id="rId34" Type="http://schemas.openxmlformats.org/officeDocument/2006/relationships/tags" Target="../tags/tag1209.xml"/><Relationship Id="rId50" Type="http://schemas.openxmlformats.org/officeDocument/2006/relationships/tags" Target="../tags/tag1225.xml"/><Relationship Id="rId55" Type="http://schemas.openxmlformats.org/officeDocument/2006/relationships/tags" Target="../tags/tag1230.xml"/><Relationship Id="rId76" Type="http://schemas.openxmlformats.org/officeDocument/2006/relationships/tags" Target="../tags/tag1251.xml"/><Relationship Id="rId97" Type="http://schemas.openxmlformats.org/officeDocument/2006/relationships/tags" Target="../tags/tag1272.xml"/><Relationship Id="rId104" Type="http://schemas.openxmlformats.org/officeDocument/2006/relationships/tags" Target="../tags/tag1279.xml"/><Relationship Id="rId120" Type="http://schemas.openxmlformats.org/officeDocument/2006/relationships/tags" Target="../tags/tag1295.xml"/><Relationship Id="rId125" Type="http://schemas.openxmlformats.org/officeDocument/2006/relationships/tags" Target="../tags/tag1300.xml"/><Relationship Id="rId7" Type="http://schemas.openxmlformats.org/officeDocument/2006/relationships/tags" Target="../tags/tag1182.xml"/><Relationship Id="rId71" Type="http://schemas.openxmlformats.org/officeDocument/2006/relationships/tags" Target="../tags/tag1246.xml"/><Relationship Id="rId92" Type="http://schemas.openxmlformats.org/officeDocument/2006/relationships/tags" Target="../tags/tag1267.xml"/><Relationship Id="rId2" Type="http://schemas.openxmlformats.org/officeDocument/2006/relationships/tags" Target="../tags/tag1177.xml"/><Relationship Id="rId29" Type="http://schemas.openxmlformats.org/officeDocument/2006/relationships/tags" Target="../tags/tag1204.xml"/><Relationship Id="rId24" Type="http://schemas.openxmlformats.org/officeDocument/2006/relationships/tags" Target="../tags/tag1199.xml"/><Relationship Id="rId40" Type="http://schemas.openxmlformats.org/officeDocument/2006/relationships/tags" Target="../tags/tag1215.xml"/><Relationship Id="rId45" Type="http://schemas.openxmlformats.org/officeDocument/2006/relationships/tags" Target="../tags/tag1220.xml"/><Relationship Id="rId66" Type="http://schemas.openxmlformats.org/officeDocument/2006/relationships/tags" Target="../tags/tag1241.xml"/><Relationship Id="rId87" Type="http://schemas.openxmlformats.org/officeDocument/2006/relationships/tags" Target="../tags/tag1262.xml"/><Relationship Id="rId110" Type="http://schemas.openxmlformats.org/officeDocument/2006/relationships/tags" Target="../tags/tag1285.xml"/><Relationship Id="rId115" Type="http://schemas.openxmlformats.org/officeDocument/2006/relationships/tags" Target="../tags/tag1290.xml"/><Relationship Id="rId131" Type="http://schemas.openxmlformats.org/officeDocument/2006/relationships/image" Target="../media/image3.emf"/><Relationship Id="rId61" Type="http://schemas.openxmlformats.org/officeDocument/2006/relationships/tags" Target="../tags/tag1236.xml"/><Relationship Id="rId82" Type="http://schemas.openxmlformats.org/officeDocument/2006/relationships/tags" Target="../tags/tag1257.xml"/><Relationship Id="rId19" Type="http://schemas.openxmlformats.org/officeDocument/2006/relationships/tags" Target="../tags/tag1194.xml"/><Relationship Id="rId14" Type="http://schemas.openxmlformats.org/officeDocument/2006/relationships/tags" Target="../tags/tag1189.xml"/><Relationship Id="rId30" Type="http://schemas.openxmlformats.org/officeDocument/2006/relationships/tags" Target="../tags/tag1205.xml"/><Relationship Id="rId35" Type="http://schemas.openxmlformats.org/officeDocument/2006/relationships/tags" Target="../tags/tag1210.xml"/><Relationship Id="rId56" Type="http://schemas.openxmlformats.org/officeDocument/2006/relationships/tags" Target="../tags/tag1231.xml"/><Relationship Id="rId77" Type="http://schemas.openxmlformats.org/officeDocument/2006/relationships/tags" Target="../tags/tag1252.xml"/><Relationship Id="rId100" Type="http://schemas.openxmlformats.org/officeDocument/2006/relationships/tags" Target="../tags/tag1275.xml"/><Relationship Id="rId105" Type="http://schemas.openxmlformats.org/officeDocument/2006/relationships/tags" Target="../tags/tag1280.xml"/><Relationship Id="rId126" Type="http://schemas.openxmlformats.org/officeDocument/2006/relationships/tags" Target="../tags/tag1301.xml"/><Relationship Id="rId8" Type="http://schemas.openxmlformats.org/officeDocument/2006/relationships/tags" Target="../tags/tag1183.xml"/><Relationship Id="rId51" Type="http://schemas.openxmlformats.org/officeDocument/2006/relationships/tags" Target="../tags/tag1226.xml"/><Relationship Id="rId72" Type="http://schemas.openxmlformats.org/officeDocument/2006/relationships/tags" Target="../tags/tag1247.xml"/><Relationship Id="rId93" Type="http://schemas.openxmlformats.org/officeDocument/2006/relationships/tags" Target="../tags/tag1268.xml"/><Relationship Id="rId98" Type="http://schemas.openxmlformats.org/officeDocument/2006/relationships/tags" Target="../tags/tag1273.xml"/><Relationship Id="rId121" Type="http://schemas.openxmlformats.org/officeDocument/2006/relationships/tags" Target="../tags/tag1296.xml"/><Relationship Id="rId3" Type="http://schemas.openxmlformats.org/officeDocument/2006/relationships/tags" Target="../tags/tag1178.xml"/><Relationship Id="rId25" Type="http://schemas.openxmlformats.org/officeDocument/2006/relationships/tags" Target="../tags/tag1200.xml"/><Relationship Id="rId46" Type="http://schemas.openxmlformats.org/officeDocument/2006/relationships/tags" Target="../tags/tag1221.xml"/><Relationship Id="rId67" Type="http://schemas.openxmlformats.org/officeDocument/2006/relationships/tags" Target="../tags/tag1242.xml"/><Relationship Id="rId116" Type="http://schemas.openxmlformats.org/officeDocument/2006/relationships/tags" Target="../tags/tag1291.xml"/><Relationship Id="rId20" Type="http://schemas.openxmlformats.org/officeDocument/2006/relationships/tags" Target="../tags/tag1195.xml"/><Relationship Id="rId41" Type="http://schemas.openxmlformats.org/officeDocument/2006/relationships/tags" Target="../tags/tag1216.xml"/><Relationship Id="rId62" Type="http://schemas.openxmlformats.org/officeDocument/2006/relationships/tags" Target="../tags/tag1237.xml"/><Relationship Id="rId83" Type="http://schemas.openxmlformats.org/officeDocument/2006/relationships/tags" Target="../tags/tag1258.xml"/><Relationship Id="rId88" Type="http://schemas.openxmlformats.org/officeDocument/2006/relationships/tags" Target="../tags/tag1263.xml"/><Relationship Id="rId111" Type="http://schemas.openxmlformats.org/officeDocument/2006/relationships/tags" Target="../tags/tag1286.xml"/><Relationship Id="rId132" Type="http://schemas.openxmlformats.org/officeDocument/2006/relationships/chart" Target="../charts/chart38.xml"/><Relationship Id="rId15" Type="http://schemas.openxmlformats.org/officeDocument/2006/relationships/tags" Target="../tags/tag1190.xml"/><Relationship Id="rId36" Type="http://schemas.openxmlformats.org/officeDocument/2006/relationships/tags" Target="../tags/tag1211.xml"/><Relationship Id="rId57" Type="http://schemas.openxmlformats.org/officeDocument/2006/relationships/tags" Target="../tags/tag1232.xml"/><Relationship Id="rId106" Type="http://schemas.openxmlformats.org/officeDocument/2006/relationships/tags" Target="../tags/tag1281.xml"/><Relationship Id="rId127" Type="http://schemas.openxmlformats.org/officeDocument/2006/relationships/tags" Target="../tags/tag1302.xml"/><Relationship Id="rId10" Type="http://schemas.openxmlformats.org/officeDocument/2006/relationships/tags" Target="../tags/tag1185.xml"/><Relationship Id="rId31" Type="http://schemas.openxmlformats.org/officeDocument/2006/relationships/tags" Target="../tags/tag1206.xml"/><Relationship Id="rId52" Type="http://schemas.openxmlformats.org/officeDocument/2006/relationships/tags" Target="../tags/tag1227.xml"/><Relationship Id="rId73" Type="http://schemas.openxmlformats.org/officeDocument/2006/relationships/tags" Target="../tags/tag1248.xml"/><Relationship Id="rId78" Type="http://schemas.openxmlformats.org/officeDocument/2006/relationships/tags" Target="../tags/tag1253.xml"/><Relationship Id="rId94" Type="http://schemas.openxmlformats.org/officeDocument/2006/relationships/tags" Target="../tags/tag1269.xml"/><Relationship Id="rId99" Type="http://schemas.openxmlformats.org/officeDocument/2006/relationships/tags" Target="../tags/tag1274.xml"/><Relationship Id="rId101" Type="http://schemas.openxmlformats.org/officeDocument/2006/relationships/tags" Target="../tags/tag1276.xml"/><Relationship Id="rId122" Type="http://schemas.openxmlformats.org/officeDocument/2006/relationships/tags" Target="../tags/tag1297.xml"/><Relationship Id="rId4" Type="http://schemas.openxmlformats.org/officeDocument/2006/relationships/tags" Target="../tags/tag1179.xml"/><Relationship Id="rId9" Type="http://schemas.openxmlformats.org/officeDocument/2006/relationships/tags" Target="../tags/tag1184.xml"/><Relationship Id="rId26" Type="http://schemas.openxmlformats.org/officeDocument/2006/relationships/tags" Target="../tags/tag1201.xml"/><Relationship Id="rId47" Type="http://schemas.openxmlformats.org/officeDocument/2006/relationships/tags" Target="../tags/tag1222.xml"/><Relationship Id="rId68" Type="http://schemas.openxmlformats.org/officeDocument/2006/relationships/tags" Target="../tags/tag1243.xml"/><Relationship Id="rId89" Type="http://schemas.openxmlformats.org/officeDocument/2006/relationships/tags" Target="../tags/tag1264.xml"/><Relationship Id="rId112" Type="http://schemas.openxmlformats.org/officeDocument/2006/relationships/tags" Target="../tags/tag1287.xml"/><Relationship Id="rId133" Type="http://schemas.openxmlformats.org/officeDocument/2006/relationships/chart" Target="../charts/chart39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oleObject" Target="../embeddings/oleObject3.bin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1.xml"/><Relationship Id="rId51" Type="http://schemas.openxmlformats.org/officeDocument/2006/relationships/image" Target="../media/image3.emf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67.xml"/><Relationship Id="rId21" Type="http://schemas.openxmlformats.org/officeDocument/2006/relationships/tags" Target="../tags/tag71.xml"/><Relationship Id="rId42" Type="http://schemas.openxmlformats.org/officeDocument/2006/relationships/tags" Target="../tags/tag92.xml"/><Relationship Id="rId47" Type="http://schemas.openxmlformats.org/officeDocument/2006/relationships/tags" Target="../tags/tag97.xml"/><Relationship Id="rId63" Type="http://schemas.openxmlformats.org/officeDocument/2006/relationships/tags" Target="../tags/tag113.xml"/><Relationship Id="rId68" Type="http://schemas.openxmlformats.org/officeDocument/2006/relationships/tags" Target="../tags/tag118.xml"/><Relationship Id="rId84" Type="http://schemas.openxmlformats.org/officeDocument/2006/relationships/tags" Target="../tags/tag134.xml"/><Relationship Id="rId89" Type="http://schemas.openxmlformats.org/officeDocument/2006/relationships/tags" Target="../tags/tag139.xml"/><Relationship Id="rId112" Type="http://schemas.openxmlformats.org/officeDocument/2006/relationships/tags" Target="../tags/tag162.xml"/><Relationship Id="rId16" Type="http://schemas.openxmlformats.org/officeDocument/2006/relationships/tags" Target="../tags/tag66.xml"/><Relationship Id="rId107" Type="http://schemas.openxmlformats.org/officeDocument/2006/relationships/tags" Target="../tags/tag157.xml"/><Relationship Id="rId11" Type="http://schemas.openxmlformats.org/officeDocument/2006/relationships/tags" Target="../tags/tag61.xml"/><Relationship Id="rId32" Type="http://schemas.openxmlformats.org/officeDocument/2006/relationships/tags" Target="../tags/tag82.xml"/><Relationship Id="rId37" Type="http://schemas.openxmlformats.org/officeDocument/2006/relationships/tags" Target="../tags/tag87.xml"/><Relationship Id="rId53" Type="http://schemas.openxmlformats.org/officeDocument/2006/relationships/tags" Target="../tags/tag103.xml"/><Relationship Id="rId58" Type="http://schemas.openxmlformats.org/officeDocument/2006/relationships/tags" Target="../tags/tag108.xml"/><Relationship Id="rId74" Type="http://schemas.openxmlformats.org/officeDocument/2006/relationships/tags" Target="../tags/tag124.xml"/><Relationship Id="rId79" Type="http://schemas.openxmlformats.org/officeDocument/2006/relationships/tags" Target="../tags/tag129.xml"/><Relationship Id="rId102" Type="http://schemas.openxmlformats.org/officeDocument/2006/relationships/tags" Target="../tags/tag152.xml"/><Relationship Id="rId123" Type="http://schemas.openxmlformats.org/officeDocument/2006/relationships/notesSlide" Target="../notesSlides/notesSlide3.xml"/><Relationship Id="rId128" Type="http://schemas.openxmlformats.org/officeDocument/2006/relationships/chart" Target="../charts/chart4.xml"/><Relationship Id="rId5" Type="http://schemas.openxmlformats.org/officeDocument/2006/relationships/tags" Target="../tags/tag55.xml"/><Relationship Id="rId90" Type="http://schemas.openxmlformats.org/officeDocument/2006/relationships/tags" Target="../tags/tag140.xml"/><Relationship Id="rId95" Type="http://schemas.openxmlformats.org/officeDocument/2006/relationships/tags" Target="../tags/tag145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43" Type="http://schemas.openxmlformats.org/officeDocument/2006/relationships/tags" Target="../tags/tag93.xml"/><Relationship Id="rId48" Type="http://schemas.openxmlformats.org/officeDocument/2006/relationships/tags" Target="../tags/tag98.xml"/><Relationship Id="rId64" Type="http://schemas.openxmlformats.org/officeDocument/2006/relationships/tags" Target="../tags/tag114.xml"/><Relationship Id="rId69" Type="http://schemas.openxmlformats.org/officeDocument/2006/relationships/tags" Target="../tags/tag119.xml"/><Relationship Id="rId113" Type="http://schemas.openxmlformats.org/officeDocument/2006/relationships/tags" Target="../tags/tag163.xml"/><Relationship Id="rId118" Type="http://schemas.openxmlformats.org/officeDocument/2006/relationships/tags" Target="../tags/tag168.xml"/><Relationship Id="rId80" Type="http://schemas.openxmlformats.org/officeDocument/2006/relationships/tags" Target="../tags/tag130.xml"/><Relationship Id="rId85" Type="http://schemas.openxmlformats.org/officeDocument/2006/relationships/tags" Target="../tags/tag135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33" Type="http://schemas.openxmlformats.org/officeDocument/2006/relationships/tags" Target="../tags/tag83.xml"/><Relationship Id="rId38" Type="http://schemas.openxmlformats.org/officeDocument/2006/relationships/tags" Target="../tags/tag88.xml"/><Relationship Id="rId59" Type="http://schemas.openxmlformats.org/officeDocument/2006/relationships/tags" Target="../tags/tag109.xml"/><Relationship Id="rId103" Type="http://schemas.openxmlformats.org/officeDocument/2006/relationships/tags" Target="../tags/tag153.xml"/><Relationship Id="rId108" Type="http://schemas.openxmlformats.org/officeDocument/2006/relationships/tags" Target="../tags/tag158.xml"/><Relationship Id="rId124" Type="http://schemas.openxmlformats.org/officeDocument/2006/relationships/oleObject" Target="../embeddings/oleObject4.bin"/><Relationship Id="rId129" Type="http://schemas.openxmlformats.org/officeDocument/2006/relationships/chart" Target="../charts/chart5.xml"/><Relationship Id="rId54" Type="http://schemas.openxmlformats.org/officeDocument/2006/relationships/tags" Target="../tags/tag104.xml"/><Relationship Id="rId70" Type="http://schemas.openxmlformats.org/officeDocument/2006/relationships/tags" Target="../tags/tag120.xml"/><Relationship Id="rId75" Type="http://schemas.openxmlformats.org/officeDocument/2006/relationships/tags" Target="../tags/tag125.xml"/><Relationship Id="rId91" Type="http://schemas.openxmlformats.org/officeDocument/2006/relationships/tags" Target="../tags/tag141.xml"/><Relationship Id="rId96" Type="http://schemas.openxmlformats.org/officeDocument/2006/relationships/tags" Target="../tags/tag146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49" Type="http://schemas.openxmlformats.org/officeDocument/2006/relationships/tags" Target="../tags/tag99.xml"/><Relationship Id="rId114" Type="http://schemas.openxmlformats.org/officeDocument/2006/relationships/tags" Target="../tags/tag164.xml"/><Relationship Id="rId119" Type="http://schemas.openxmlformats.org/officeDocument/2006/relationships/tags" Target="../tags/tag169.xml"/><Relationship Id="rId44" Type="http://schemas.openxmlformats.org/officeDocument/2006/relationships/tags" Target="../tags/tag94.xml"/><Relationship Id="rId60" Type="http://schemas.openxmlformats.org/officeDocument/2006/relationships/tags" Target="../tags/tag110.xml"/><Relationship Id="rId65" Type="http://schemas.openxmlformats.org/officeDocument/2006/relationships/tags" Target="../tags/tag115.xml"/><Relationship Id="rId81" Type="http://schemas.openxmlformats.org/officeDocument/2006/relationships/tags" Target="../tags/tag131.xml"/><Relationship Id="rId86" Type="http://schemas.openxmlformats.org/officeDocument/2006/relationships/tags" Target="../tags/tag136.xml"/><Relationship Id="rId130" Type="http://schemas.openxmlformats.org/officeDocument/2006/relationships/image" Target="../media/image5.png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39" Type="http://schemas.openxmlformats.org/officeDocument/2006/relationships/tags" Target="../tags/tag89.xml"/><Relationship Id="rId109" Type="http://schemas.openxmlformats.org/officeDocument/2006/relationships/tags" Target="../tags/tag159.xml"/><Relationship Id="rId34" Type="http://schemas.openxmlformats.org/officeDocument/2006/relationships/tags" Target="../tags/tag84.xml"/><Relationship Id="rId50" Type="http://schemas.openxmlformats.org/officeDocument/2006/relationships/tags" Target="../tags/tag100.xml"/><Relationship Id="rId55" Type="http://schemas.openxmlformats.org/officeDocument/2006/relationships/tags" Target="../tags/tag105.xml"/><Relationship Id="rId76" Type="http://schemas.openxmlformats.org/officeDocument/2006/relationships/tags" Target="../tags/tag126.xml"/><Relationship Id="rId97" Type="http://schemas.openxmlformats.org/officeDocument/2006/relationships/tags" Target="../tags/tag147.xml"/><Relationship Id="rId104" Type="http://schemas.openxmlformats.org/officeDocument/2006/relationships/tags" Target="../tags/tag154.xml"/><Relationship Id="rId120" Type="http://schemas.openxmlformats.org/officeDocument/2006/relationships/tags" Target="../tags/tag170.xml"/><Relationship Id="rId125" Type="http://schemas.openxmlformats.org/officeDocument/2006/relationships/image" Target="../media/image3.emf"/><Relationship Id="rId7" Type="http://schemas.openxmlformats.org/officeDocument/2006/relationships/tags" Target="../tags/tag57.xml"/><Relationship Id="rId71" Type="http://schemas.openxmlformats.org/officeDocument/2006/relationships/tags" Target="../tags/tag121.xml"/><Relationship Id="rId92" Type="http://schemas.openxmlformats.org/officeDocument/2006/relationships/tags" Target="../tags/tag142.xml"/><Relationship Id="rId2" Type="http://schemas.openxmlformats.org/officeDocument/2006/relationships/tags" Target="../tags/tag52.xml"/><Relationship Id="rId29" Type="http://schemas.openxmlformats.org/officeDocument/2006/relationships/tags" Target="../tags/tag79.xml"/><Relationship Id="rId24" Type="http://schemas.openxmlformats.org/officeDocument/2006/relationships/tags" Target="../tags/tag74.xml"/><Relationship Id="rId40" Type="http://schemas.openxmlformats.org/officeDocument/2006/relationships/tags" Target="../tags/tag90.xml"/><Relationship Id="rId45" Type="http://schemas.openxmlformats.org/officeDocument/2006/relationships/tags" Target="../tags/tag95.xml"/><Relationship Id="rId66" Type="http://schemas.openxmlformats.org/officeDocument/2006/relationships/tags" Target="../tags/tag116.xml"/><Relationship Id="rId87" Type="http://schemas.openxmlformats.org/officeDocument/2006/relationships/tags" Target="../tags/tag137.xml"/><Relationship Id="rId110" Type="http://schemas.openxmlformats.org/officeDocument/2006/relationships/tags" Target="../tags/tag160.xml"/><Relationship Id="rId115" Type="http://schemas.openxmlformats.org/officeDocument/2006/relationships/tags" Target="../tags/tag165.xml"/><Relationship Id="rId61" Type="http://schemas.openxmlformats.org/officeDocument/2006/relationships/tags" Target="../tags/tag111.xml"/><Relationship Id="rId82" Type="http://schemas.openxmlformats.org/officeDocument/2006/relationships/tags" Target="../tags/tag132.xml"/><Relationship Id="rId19" Type="http://schemas.openxmlformats.org/officeDocument/2006/relationships/tags" Target="../tags/tag69.xml"/><Relationship Id="rId14" Type="http://schemas.openxmlformats.org/officeDocument/2006/relationships/tags" Target="../tags/tag64.xml"/><Relationship Id="rId30" Type="http://schemas.openxmlformats.org/officeDocument/2006/relationships/tags" Target="../tags/tag80.xml"/><Relationship Id="rId35" Type="http://schemas.openxmlformats.org/officeDocument/2006/relationships/tags" Target="../tags/tag85.xml"/><Relationship Id="rId56" Type="http://schemas.openxmlformats.org/officeDocument/2006/relationships/tags" Target="../tags/tag106.xml"/><Relationship Id="rId77" Type="http://schemas.openxmlformats.org/officeDocument/2006/relationships/tags" Target="../tags/tag127.xml"/><Relationship Id="rId100" Type="http://schemas.openxmlformats.org/officeDocument/2006/relationships/tags" Target="../tags/tag150.xml"/><Relationship Id="rId105" Type="http://schemas.openxmlformats.org/officeDocument/2006/relationships/tags" Target="../tags/tag155.xml"/><Relationship Id="rId126" Type="http://schemas.openxmlformats.org/officeDocument/2006/relationships/chart" Target="../charts/chart2.xml"/><Relationship Id="rId8" Type="http://schemas.openxmlformats.org/officeDocument/2006/relationships/tags" Target="../tags/tag58.xml"/><Relationship Id="rId51" Type="http://schemas.openxmlformats.org/officeDocument/2006/relationships/tags" Target="../tags/tag101.xml"/><Relationship Id="rId72" Type="http://schemas.openxmlformats.org/officeDocument/2006/relationships/tags" Target="../tags/tag122.xml"/><Relationship Id="rId93" Type="http://schemas.openxmlformats.org/officeDocument/2006/relationships/tags" Target="../tags/tag143.xml"/><Relationship Id="rId98" Type="http://schemas.openxmlformats.org/officeDocument/2006/relationships/tags" Target="../tags/tag148.xml"/><Relationship Id="rId121" Type="http://schemas.openxmlformats.org/officeDocument/2006/relationships/tags" Target="../tags/tag171.xml"/><Relationship Id="rId3" Type="http://schemas.openxmlformats.org/officeDocument/2006/relationships/tags" Target="../tags/tag53.xml"/><Relationship Id="rId25" Type="http://schemas.openxmlformats.org/officeDocument/2006/relationships/tags" Target="../tags/tag75.xml"/><Relationship Id="rId46" Type="http://schemas.openxmlformats.org/officeDocument/2006/relationships/tags" Target="../tags/tag96.xml"/><Relationship Id="rId67" Type="http://schemas.openxmlformats.org/officeDocument/2006/relationships/tags" Target="../tags/tag117.xml"/><Relationship Id="rId116" Type="http://schemas.openxmlformats.org/officeDocument/2006/relationships/tags" Target="../tags/tag166.xml"/><Relationship Id="rId20" Type="http://schemas.openxmlformats.org/officeDocument/2006/relationships/tags" Target="../tags/tag70.xml"/><Relationship Id="rId41" Type="http://schemas.openxmlformats.org/officeDocument/2006/relationships/tags" Target="../tags/tag91.xml"/><Relationship Id="rId62" Type="http://schemas.openxmlformats.org/officeDocument/2006/relationships/tags" Target="../tags/tag112.xml"/><Relationship Id="rId83" Type="http://schemas.openxmlformats.org/officeDocument/2006/relationships/tags" Target="../tags/tag133.xml"/><Relationship Id="rId88" Type="http://schemas.openxmlformats.org/officeDocument/2006/relationships/tags" Target="../tags/tag138.xml"/><Relationship Id="rId111" Type="http://schemas.openxmlformats.org/officeDocument/2006/relationships/tags" Target="../tags/tag161.xml"/><Relationship Id="rId15" Type="http://schemas.openxmlformats.org/officeDocument/2006/relationships/tags" Target="../tags/tag65.xml"/><Relationship Id="rId36" Type="http://schemas.openxmlformats.org/officeDocument/2006/relationships/tags" Target="../tags/tag86.xml"/><Relationship Id="rId57" Type="http://schemas.openxmlformats.org/officeDocument/2006/relationships/tags" Target="../tags/tag107.xml"/><Relationship Id="rId106" Type="http://schemas.openxmlformats.org/officeDocument/2006/relationships/tags" Target="../tags/tag156.xml"/><Relationship Id="rId127" Type="http://schemas.openxmlformats.org/officeDocument/2006/relationships/chart" Target="../charts/chart3.xml"/><Relationship Id="rId10" Type="http://schemas.openxmlformats.org/officeDocument/2006/relationships/tags" Target="../tags/tag60.xml"/><Relationship Id="rId31" Type="http://schemas.openxmlformats.org/officeDocument/2006/relationships/tags" Target="../tags/tag81.xml"/><Relationship Id="rId52" Type="http://schemas.openxmlformats.org/officeDocument/2006/relationships/tags" Target="../tags/tag102.xml"/><Relationship Id="rId73" Type="http://schemas.openxmlformats.org/officeDocument/2006/relationships/tags" Target="../tags/tag123.xml"/><Relationship Id="rId78" Type="http://schemas.openxmlformats.org/officeDocument/2006/relationships/tags" Target="../tags/tag128.xml"/><Relationship Id="rId94" Type="http://schemas.openxmlformats.org/officeDocument/2006/relationships/tags" Target="../tags/tag144.xml"/><Relationship Id="rId99" Type="http://schemas.openxmlformats.org/officeDocument/2006/relationships/tags" Target="../tags/tag149.xml"/><Relationship Id="rId101" Type="http://schemas.openxmlformats.org/officeDocument/2006/relationships/tags" Target="../tags/tag151.xml"/><Relationship Id="rId122" Type="http://schemas.openxmlformats.org/officeDocument/2006/relationships/slideLayout" Target="../slideLayouts/slideLayout2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26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288.xml"/><Relationship Id="rId21" Type="http://schemas.openxmlformats.org/officeDocument/2006/relationships/tags" Target="../tags/tag192.xml"/><Relationship Id="rId42" Type="http://schemas.openxmlformats.org/officeDocument/2006/relationships/tags" Target="../tags/tag213.xml"/><Relationship Id="rId47" Type="http://schemas.openxmlformats.org/officeDocument/2006/relationships/tags" Target="../tags/tag218.xml"/><Relationship Id="rId63" Type="http://schemas.openxmlformats.org/officeDocument/2006/relationships/tags" Target="../tags/tag234.xml"/><Relationship Id="rId68" Type="http://schemas.openxmlformats.org/officeDocument/2006/relationships/tags" Target="../tags/tag239.xml"/><Relationship Id="rId84" Type="http://schemas.openxmlformats.org/officeDocument/2006/relationships/tags" Target="../tags/tag255.xml"/><Relationship Id="rId89" Type="http://schemas.openxmlformats.org/officeDocument/2006/relationships/tags" Target="../tags/tag260.xml"/><Relationship Id="rId112" Type="http://schemas.openxmlformats.org/officeDocument/2006/relationships/tags" Target="../tags/tag283.xml"/><Relationship Id="rId16" Type="http://schemas.openxmlformats.org/officeDocument/2006/relationships/tags" Target="../tags/tag187.xml"/><Relationship Id="rId107" Type="http://schemas.openxmlformats.org/officeDocument/2006/relationships/tags" Target="../tags/tag278.xml"/><Relationship Id="rId11" Type="http://schemas.openxmlformats.org/officeDocument/2006/relationships/tags" Target="../tags/tag182.xml"/><Relationship Id="rId32" Type="http://schemas.openxmlformats.org/officeDocument/2006/relationships/tags" Target="../tags/tag203.xml"/><Relationship Id="rId37" Type="http://schemas.openxmlformats.org/officeDocument/2006/relationships/tags" Target="../tags/tag208.xml"/><Relationship Id="rId53" Type="http://schemas.openxmlformats.org/officeDocument/2006/relationships/tags" Target="../tags/tag224.xml"/><Relationship Id="rId58" Type="http://schemas.openxmlformats.org/officeDocument/2006/relationships/tags" Target="../tags/tag229.xml"/><Relationship Id="rId74" Type="http://schemas.openxmlformats.org/officeDocument/2006/relationships/tags" Target="../tags/tag245.xml"/><Relationship Id="rId79" Type="http://schemas.openxmlformats.org/officeDocument/2006/relationships/tags" Target="../tags/tag250.xml"/><Relationship Id="rId102" Type="http://schemas.openxmlformats.org/officeDocument/2006/relationships/tags" Target="../tags/tag273.xml"/><Relationship Id="rId123" Type="http://schemas.openxmlformats.org/officeDocument/2006/relationships/slideLayout" Target="../slideLayouts/slideLayout2.xml"/><Relationship Id="rId128" Type="http://schemas.openxmlformats.org/officeDocument/2006/relationships/chart" Target="../charts/chart7.xml"/><Relationship Id="rId5" Type="http://schemas.openxmlformats.org/officeDocument/2006/relationships/tags" Target="../tags/tag176.xml"/><Relationship Id="rId90" Type="http://schemas.openxmlformats.org/officeDocument/2006/relationships/tags" Target="../tags/tag261.xml"/><Relationship Id="rId95" Type="http://schemas.openxmlformats.org/officeDocument/2006/relationships/tags" Target="../tags/tag266.xml"/><Relationship Id="rId22" Type="http://schemas.openxmlformats.org/officeDocument/2006/relationships/tags" Target="../tags/tag193.xml"/><Relationship Id="rId27" Type="http://schemas.openxmlformats.org/officeDocument/2006/relationships/tags" Target="../tags/tag198.xml"/><Relationship Id="rId43" Type="http://schemas.openxmlformats.org/officeDocument/2006/relationships/tags" Target="../tags/tag214.xml"/><Relationship Id="rId48" Type="http://schemas.openxmlformats.org/officeDocument/2006/relationships/tags" Target="../tags/tag219.xml"/><Relationship Id="rId64" Type="http://schemas.openxmlformats.org/officeDocument/2006/relationships/tags" Target="../tags/tag235.xml"/><Relationship Id="rId69" Type="http://schemas.openxmlformats.org/officeDocument/2006/relationships/tags" Target="../tags/tag240.xml"/><Relationship Id="rId113" Type="http://schemas.openxmlformats.org/officeDocument/2006/relationships/tags" Target="../tags/tag284.xml"/><Relationship Id="rId118" Type="http://schemas.openxmlformats.org/officeDocument/2006/relationships/tags" Target="../tags/tag289.xml"/><Relationship Id="rId80" Type="http://schemas.openxmlformats.org/officeDocument/2006/relationships/tags" Target="../tags/tag251.xml"/><Relationship Id="rId85" Type="http://schemas.openxmlformats.org/officeDocument/2006/relationships/tags" Target="../tags/tag256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33" Type="http://schemas.openxmlformats.org/officeDocument/2006/relationships/tags" Target="../tags/tag204.xml"/><Relationship Id="rId38" Type="http://schemas.openxmlformats.org/officeDocument/2006/relationships/tags" Target="../tags/tag209.xml"/><Relationship Id="rId59" Type="http://schemas.openxmlformats.org/officeDocument/2006/relationships/tags" Target="../tags/tag230.xml"/><Relationship Id="rId103" Type="http://schemas.openxmlformats.org/officeDocument/2006/relationships/tags" Target="../tags/tag274.xml"/><Relationship Id="rId108" Type="http://schemas.openxmlformats.org/officeDocument/2006/relationships/tags" Target="../tags/tag279.xml"/><Relationship Id="rId124" Type="http://schemas.openxmlformats.org/officeDocument/2006/relationships/notesSlide" Target="../notesSlides/notesSlide4.xml"/><Relationship Id="rId129" Type="http://schemas.openxmlformats.org/officeDocument/2006/relationships/chart" Target="../charts/chart8.xml"/><Relationship Id="rId54" Type="http://schemas.openxmlformats.org/officeDocument/2006/relationships/tags" Target="../tags/tag225.xml"/><Relationship Id="rId70" Type="http://schemas.openxmlformats.org/officeDocument/2006/relationships/tags" Target="../tags/tag241.xml"/><Relationship Id="rId75" Type="http://schemas.openxmlformats.org/officeDocument/2006/relationships/tags" Target="../tags/tag246.xml"/><Relationship Id="rId91" Type="http://schemas.openxmlformats.org/officeDocument/2006/relationships/tags" Target="../tags/tag262.xml"/><Relationship Id="rId96" Type="http://schemas.openxmlformats.org/officeDocument/2006/relationships/tags" Target="../tags/tag267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23" Type="http://schemas.openxmlformats.org/officeDocument/2006/relationships/tags" Target="../tags/tag194.xml"/><Relationship Id="rId28" Type="http://schemas.openxmlformats.org/officeDocument/2006/relationships/tags" Target="../tags/tag199.xml"/><Relationship Id="rId49" Type="http://schemas.openxmlformats.org/officeDocument/2006/relationships/tags" Target="../tags/tag220.xml"/><Relationship Id="rId114" Type="http://schemas.openxmlformats.org/officeDocument/2006/relationships/tags" Target="../tags/tag285.xml"/><Relationship Id="rId119" Type="http://schemas.openxmlformats.org/officeDocument/2006/relationships/tags" Target="../tags/tag290.xml"/><Relationship Id="rId44" Type="http://schemas.openxmlformats.org/officeDocument/2006/relationships/tags" Target="../tags/tag215.xml"/><Relationship Id="rId60" Type="http://schemas.openxmlformats.org/officeDocument/2006/relationships/tags" Target="../tags/tag231.xml"/><Relationship Id="rId65" Type="http://schemas.openxmlformats.org/officeDocument/2006/relationships/tags" Target="../tags/tag236.xml"/><Relationship Id="rId81" Type="http://schemas.openxmlformats.org/officeDocument/2006/relationships/tags" Target="../tags/tag252.xml"/><Relationship Id="rId86" Type="http://schemas.openxmlformats.org/officeDocument/2006/relationships/tags" Target="../tags/tag257.xml"/><Relationship Id="rId130" Type="http://schemas.openxmlformats.org/officeDocument/2006/relationships/chart" Target="../charts/chart9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39" Type="http://schemas.openxmlformats.org/officeDocument/2006/relationships/tags" Target="../tags/tag210.xml"/><Relationship Id="rId109" Type="http://schemas.openxmlformats.org/officeDocument/2006/relationships/tags" Target="../tags/tag280.xml"/><Relationship Id="rId34" Type="http://schemas.openxmlformats.org/officeDocument/2006/relationships/tags" Target="../tags/tag205.xml"/><Relationship Id="rId50" Type="http://schemas.openxmlformats.org/officeDocument/2006/relationships/tags" Target="../tags/tag221.xml"/><Relationship Id="rId55" Type="http://schemas.openxmlformats.org/officeDocument/2006/relationships/tags" Target="../tags/tag226.xml"/><Relationship Id="rId76" Type="http://schemas.openxmlformats.org/officeDocument/2006/relationships/tags" Target="../tags/tag247.xml"/><Relationship Id="rId97" Type="http://schemas.openxmlformats.org/officeDocument/2006/relationships/tags" Target="../tags/tag268.xml"/><Relationship Id="rId104" Type="http://schemas.openxmlformats.org/officeDocument/2006/relationships/tags" Target="../tags/tag275.xml"/><Relationship Id="rId120" Type="http://schemas.openxmlformats.org/officeDocument/2006/relationships/tags" Target="../tags/tag291.xml"/><Relationship Id="rId125" Type="http://schemas.openxmlformats.org/officeDocument/2006/relationships/oleObject" Target="../embeddings/oleObject5.bin"/><Relationship Id="rId7" Type="http://schemas.openxmlformats.org/officeDocument/2006/relationships/tags" Target="../tags/tag178.xml"/><Relationship Id="rId71" Type="http://schemas.openxmlformats.org/officeDocument/2006/relationships/tags" Target="../tags/tag242.xml"/><Relationship Id="rId92" Type="http://schemas.openxmlformats.org/officeDocument/2006/relationships/tags" Target="../tags/tag263.xml"/><Relationship Id="rId2" Type="http://schemas.openxmlformats.org/officeDocument/2006/relationships/tags" Target="../tags/tag173.xml"/><Relationship Id="rId29" Type="http://schemas.openxmlformats.org/officeDocument/2006/relationships/tags" Target="../tags/tag200.xml"/><Relationship Id="rId24" Type="http://schemas.openxmlformats.org/officeDocument/2006/relationships/tags" Target="../tags/tag195.xml"/><Relationship Id="rId40" Type="http://schemas.openxmlformats.org/officeDocument/2006/relationships/tags" Target="../tags/tag211.xml"/><Relationship Id="rId45" Type="http://schemas.openxmlformats.org/officeDocument/2006/relationships/tags" Target="../tags/tag216.xml"/><Relationship Id="rId66" Type="http://schemas.openxmlformats.org/officeDocument/2006/relationships/tags" Target="../tags/tag237.xml"/><Relationship Id="rId87" Type="http://schemas.openxmlformats.org/officeDocument/2006/relationships/tags" Target="../tags/tag258.xml"/><Relationship Id="rId110" Type="http://schemas.openxmlformats.org/officeDocument/2006/relationships/tags" Target="../tags/tag281.xml"/><Relationship Id="rId115" Type="http://schemas.openxmlformats.org/officeDocument/2006/relationships/tags" Target="../tags/tag286.xml"/><Relationship Id="rId131" Type="http://schemas.openxmlformats.org/officeDocument/2006/relationships/image" Target="../media/image6.png"/><Relationship Id="rId61" Type="http://schemas.openxmlformats.org/officeDocument/2006/relationships/tags" Target="../tags/tag232.xml"/><Relationship Id="rId82" Type="http://schemas.openxmlformats.org/officeDocument/2006/relationships/tags" Target="../tags/tag253.xml"/><Relationship Id="rId19" Type="http://schemas.openxmlformats.org/officeDocument/2006/relationships/tags" Target="../tags/tag190.xml"/><Relationship Id="rId14" Type="http://schemas.openxmlformats.org/officeDocument/2006/relationships/tags" Target="../tags/tag185.xml"/><Relationship Id="rId30" Type="http://schemas.openxmlformats.org/officeDocument/2006/relationships/tags" Target="../tags/tag201.xml"/><Relationship Id="rId35" Type="http://schemas.openxmlformats.org/officeDocument/2006/relationships/tags" Target="../tags/tag206.xml"/><Relationship Id="rId56" Type="http://schemas.openxmlformats.org/officeDocument/2006/relationships/tags" Target="../tags/tag227.xml"/><Relationship Id="rId77" Type="http://schemas.openxmlformats.org/officeDocument/2006/relationships/tags" Target="../tags/tag248.xml"/><Relationship Id="rId100" Type="http://schemas.openxmlformats.org/officeDocument/2006/relationships/tags" Target="../tags/tag271.xml"/><Relationship Id="rId105" Type="http://schemas.openxmlformats.org/officeDocument/2006/relationships/tags" Target="../tags/tag276.xml"/><Relationship Id="rId126" Type="http://schemas.openxmlformats.org/officeDocument/2006/relationships/image" Target="../media/image3.emf"/><Relationship Id="rId8" Type="http://schemas.openxmlformats.org/officeDocument/2006/relationships/tags" Target="../tags/tag179.xml"/><Relationship Id="rId51" Type="http://schemas.openxmlformats.org/officeDocument/2006/relationships/tags" Target="../tags/tag222.xml"/><Relationship Id="rId72" Type="http://schemas.openxmlformats.org/officeDocument/2006/relationships/tags" Target="../tags/tag243.xml"/><Relationship Id="rId93" Type="http://schemas.openxmlformats.org/officeDocument/2006/relationships/tags" Target="../tags/tag264.xml"/><Relationship Id="rId98" Type="http://schemas.openxmlformats.org/officeDocument/2006/relationships/tags" Target="../tags/tag269.xml"/><Relationship Id="rId121" Type="http://schemas.openxmlformats.org/officeDocument/2006/relationships/tags" Target="../tags/tag292.xml"/><Relationship Id="rId3" Type="http://schemas.openxmlformats.org/officeDocument/2006/relationships/tags" Target="../tags/tag174.xml"/><Relationship Id="rId25" Type="http://schemas.openxmlformats.org/officeDocument/2006/relationships/tags" Target="../tags/tag196.xml"/><Relationship Id="rId46" Type="http://schemas.openxmlformats.org/officeDocument/2006/relationships/tags" Target="../tags/tag217.xml"/><Relationship Id="rId67" Type="http://schemas.openxmlformats.org/officeDocument/2006/relationships/tags" Target="../tags/tag238.xml"/><Relationship Id="rId116" Type="http://schemas.openxmlformats.org/officeDocument/2006/relationships/tags" Target="../tags/tag287.xml"/><Relationship Id="rId20" Type="http://schemas.openxmlformats.org/officeDocument/2006/relationships/tags" Target="../tags/tag191.xml"/><Relationship Id="rId41" Type="http://schemas.openxmlformats.org/officeDocument/2006/relationships/tags" Target="../tags/tag212.xml"/><Relationship Id="rId62" Type="http://schemas.openxmlformats.org/officeDocument/2006/relationships/tags" Target="../tags/tag233.xml"/><Relationship Id="rId83" Type="http://schemas.openxmlformats.org/officeDocument/2006/relationships/tags" Target="../tags/tag254.xml"/><Relationship Id="rId88" Type="http://schemas.openxmlformats.org/officeDocument/2006/relationships/tags" Target="../tags/tag259.xml"/><Relationship Id="rId111" Type="http://schemas.openxmlformats.org/officeDocument/2006/relationships/tags" Target="../tags/tag282.xml"/><Relationship Id="rId15" Type="http://schemas.openxmlformats.org/officeDocument/2006/relationships/tags" Target="../tags/tag186.xml"/><Relationship Id="rId36" Type="http://schemas.openxmlformats.org/officeDocument/2006/relationships/tags" Target="../tags/tag207.xml"/><Relationship Id="rId57" Type="http://schemas.openxmlformats.org/officeDocument/2006/relationships/tags" Target="../tags/tag228.xml"/><Relationship Id="rId106" Type="http://schemas.openxmlformats.org/officeDocument/2006/relationships/tags" Target="../tags/tag277.xml"/><Relationship Id="rId127" Type="http://schemas.openxmlformats.org/officeDocument/2006/relationships/chart" Target="../charts/chart6.xml"/><Relationship Id="rId10" Type="http://schemas.openxmlformats.org/officeDocument/2006/relationships/tags" Target="../tags/tag181.xml"/><Relationship Id="rId31" Type="http://schemas.openxmlformats.org/officeDocument/2006/relationships/tags" Target="../tags/tag202.xml"/><Relationship Id="rId52" Type="http://schemas.openxmlformats.org/officeDocument/2006/relationships/tags" Target="../tags/tag223.xml"/><Relationship Id="rId73" Type="http://schemas.openxmlformats.org/officeDocument/2006/relationships/tags" Target="../tags/tag244.xml"/><Relationship Id="rId78" Type="http://schemas.openxmlformats.org/officeDocument/2006/relationships/tags" Target="../tags/tag249.xml"/><Relationship Id="rId94" Type="http://schemas.openxmlformats.org/officeDocument/2006/relationships/tags" Target="../tags/tag265.xml"/><Relationship Id="rId99" Type="http://schemas.openxmlformats.org/officeDocument/2006/relationships/tags" Target="../tags/tag270.xml"/><Relationship Id="rId101" Type="http://schemas.openxmlformats.org/officeDocument/2006/relationships/tags" Target="../tags/tag272.xml"/><Relationship Id="rId122" Type="http://schemas.openxmlformats.org/officeDocument/2006/relationships/tags" Target="../tags/tag293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26" Type="http://schemas.openxmlformats.org/officeDocument/2006/relationships/tags" Target="../tags/tag197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410.xml"/><Relationship Id="rId21" Type="http://schemas.openxmlformats.org/officeDocument/2006/relationships/tags" Target="../tags/tag314.xml"/><Relationship Id="rId42" Type="http://schemas.openxmlformats.org/officeDocument/2006/relationships/tags" Target="../tags/tag335.xml"/><Relationship Id="rId63" Type="http://schemas.openxmlformats.org/officeDocument/2006/relationships/tags" Target="../tags/tag356.xml"/><Relationship Id="rId84" Type="http://schemas.openxmlformats.org/officeDocument/2006/relationships/tags" Target="../tags/tag377.xml"/><Relationship Id="rId16" Type="http://schemas.openxmlformats.org/officeDocument/2006/relationships/tags" Target="../tags/tag309.xml"/><Relationship Id="rId107" Type="http://schemas.openxmlformats.org/officeDocument/2006/relationships/tags" Target="../tags/tag400.xml"/><Relationship Id="rId11" Type="http://schemas.openxmlformats.org/officeDocument/2006/relationships/tags" Target="../tags/tag304.xml"/><Relationship Id="rId32" Type="http://schemas.openxmlformats.org/officeDocument/2006/relationships/tags" Target="../tags/tag325.xml"/><Relationship Id="rId37" Type="http://schemas.openxmlformats.org/officeDocument/2006/relationships/tags" Target="../tags/tag330.xml"/><Relationship Id="rId53" Type="http://schemas.openxmlformats.org/officeDocument/2006/relationships/tags" Target="../tags/tag346.xml"/><Relationship Id="rId58" Type="http://schemas.openxmlformats.org/officeDocument/2006/relationships/tags" Target="../tags/tag351.xml"/><Relationship Id="rId74" Type="http://schemas.openxmlformats.org/officeDocument/2006/relationships/tags" Target="../tags/tag367.xml"/><Relationship Id="rId79" Type="http://schemas.openxmlformats.org/officeDocument/2006/relationships/tags" Target="../tags/tag372.xml"/><Relationship Id="rId102" Type="http://schemas.openxmlformats.org/officeDocument/2006/relationships/tags" Target="../tags/tag395.xml"/><Relationship Id="rId123" Type="http://schemas.openxmlformats.org/officeDocument/2006/relationships/tags" Target="../tags/tag416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298.xml"/><Relationship Id="rId90" Type="http://schemas.openxmlformats.org/officeDocument/2006/relationships/tags" Target="../tags/tag383.xml"/><Relationship Id="rId95" Type="http://schemas.openxmlformats.org/officeDocument/2006/relationships/tags" Target="../tags/tag388.xml"/><Relationship Id="rId22" Type="http://schemas.openxmlformats.org/officeDocument/2006/relationships/tags" Target="../tags/tag315.xml"/><Relationship Id="rId27" Type="http://schemas.openxmlformats.org/officeDocument/2006/relationships/tags" Target="../tags/tag320.xml"/><Relationship Id="rId43" Type="http://schemas.openxmlformats.org/officeDocument/2006/relationships/tags" Target="../tags/tag336.xml"/><Relationship Id="rId48" Type="http://schemas.openxmlformats.org/officeDocument/2006/relationships/tags" Target="../tags/tag341.xml"/><Relationship Id="rId64" Type="http://schemas.openxmlformats.org/officeDocument/2006/relationships/tags" Target="../tags/tag357.xml"/><Relationship Id="rId69" Type="http://schemas.openxmlformats.org/officeDocument/2006/relationships/tags" Target="../tags/tag362.xml"/><Relationship Id="rId113" Type="http://schemas.openxmlformats.org/officeDocument/2006/relationships/tags" Target="../tags/tag406.xml"/><Relationship Id="rId118" Type="http://schemas.openxmlformats.org/officeDocument/2006/relationships/tags" Target="../tags/tag411.xml"/><Relationship Id="rId134" Type="http://schemas.openxmlformats.org/officeDocument/2006/relationships/chart" Target="../charts/chart12.xml"/><Relationship Id="rId80" Type="http://schemas.openxmlformats.org/officeDocument/2006/relationships/tags" Target="../tags/tag373.xml"/><Relationship Id="rId85" Type="http://schemas.openxmlformats.org/officeDocument/2006/relationships/tags" Target="../tags/tag378.xml"/><Relationship Id="rId12" Type="http://schemas.openxmlformats.org/officeDocument/2006/relationships/tags" Target="../tags/tag305.xml"/><Relationship Id="rId17" Type="http://schemas.openxmlformats.org/officeDocument/2006/relationships/tags" Target="../tags/tag310.xml"/><Relationship Id="rId33" Type="http://schemas.openxmlformats.org/officeDocument/2006/relationships/tags" Target="../tags/tag326.xml"/><Relationship Id="rId38" Type="http://schemas.openxmlformats.org/officeDocument/2006/relationships/tags" Target="../tags/tag331.xml"/><Relationship Id="rId59" Type="http://schemas.openxmlformats.org/officeDocument/2006/relationships/tags" Target="../tags/tag352.xml"/><Relationship Id="rId103" Type="http://schemas.openxmlformats.org/officeDocument/2006/relationships/tags" Target="../tags/tag396.xml"/><Relationship Id="rId108" Type="http://schemas.openxmlformats.org/officeDocument/2006/relationships/tags" Target="../tags/tag401.xml"/><Relationship Id="rId124" Type="http://schemas.openxmlformats.org/officeDocument/2006/relationships/tags" Target="../tags/tag417.xml"/><Relationship Id="rId129" Type="http://schemas.openxmlformats.org/officeDocument/2006/relationships/notesSlide" Target="../notesSlides/notesSlide5.xml"/><Relationship Id="rId54" Type="http://schemas.openxmlformats.org/officeDocument/2006/relationships/tags" Target="../tags/tag347.xml"/><Relationship Id="rId70" Type="http://schemas.openxmlformats.org/officeDocument/2006/relationships/tags" Target="../tags/tag363.xml"/><Relationship Id="rId75" Type="http://schemas.openxmlformats.org/officeDocument/2006/relationships/tags" Target="../tags/tag368.xml"/><Relationship Id="rId91" Type="http://schemas.openxmlformats.org/officeDocument/2006/relationships/tags" Target="../tags/tag384.xml"/><Relationship Id="rId96" Type="http://schemas.openxmlformats.org/officeDocument/2006/relationships/tags" Target="../tags/tag389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23" Type="http://schemas.openxmlformats.org/officeDocument/2006/relationships/tags" Target="../tags/tag316.xml"/><Relationship Id="rId28" Type="http://schemas.openxmlformats.org/officeDocument/2006/relationships/tags" Target="../tags/tag321.xml"/><Relationship Id="rId49" Type="http://schemas.openxmlformats.org/officeDocument/2006/relationships/tags" Target="../tags/tag342.xml"/><Relationship Id="rId114" Type="http://schemas.openxmlformats.org/officeDocument/2006/relationships/tags" Target="../tags/tag407.xml"/><Relationship Id="rId119" Type="http://schemas.openxmlformats.org/officeDocument/2006/relationships/tags" Target="../tags/tag412.xml"/><Relationship Id="rId44" Type="http://schemas.openxmlformats.org/officeDocument/2006/relationships/tags" Target="../tags/tag337.xml"/><Relationship Id="rId60" Type="http://schemas.openxmlformats.org/officeDocument/2006/relationships/tags" Target="../tags/tag353.xml"/><Relationship Id="rId65" Type="http://schemas.openxmlformats.org/officeDocument/2006/relationships/tags" Target="../tags/tag358.xml"/><Relationship Id="rId81" Type="http://schemas.openxmlformats.org/officeDocument/2006/relationships/tags" Target="../tags/tag374.xml"/><Relationship Id="rId86" Type="http://schemas.openxmlformats.org/officeDocument/2006/relationships/tags" Target="../tags/tag379.xml"/><Relationship Id="rId130" Type="http://schemas.openxmlformats.org/officeDocument/2006/relationships/oleObject" Target="../embeddings/oleObject6.bin"/><Relationship Id="rId135" Type="http://schemas.openxmlformats.org/officeDocument/2006/relationships/chart" Target="../charts/chart13.xml"/><Relationship Id="rId13" Type="http://schemas.openxmlformats.org/officeDocument/2006/relationships/tags" Target="../tags/tag306.xml"/><Relationship Id="rId18" Type="http://schemas.openxmlformats.org/officeDocument/2006/relationships/tags" Target="../tags/tag311.xml"/><Relationship Id="rId39" Type="http://schemas.openxmlformats.org/officeDocument/2006/relationships/tags" Target="../tags/tag332.xml"/><Relationship Id="rId109" Type="http://schemas.openxmlformats.org/officeDocument/2006/relationships/tags" Target="../tags/tag402.xml"/><Relationship Id="rId34" Type="http://schemas.openxmlformats.org/officeDocument/2006/relationships/tags" Target="../tags/tag327.xml"/><Relationship Id="rId50" Type="http://schemas.openxmlformats.org/officeDocument/2006/relationships/tags" Target="../tags/tag343.xml"/><Relationship Id="rId55" Type="http://schemas.openxmlformats.org/officeDocument/2006/relationships/tags" Target="../tags/tag348.xml"/><Relationship Id="rId76" Type="http://schemas.openxmlformats.org/officeDocument/2006/relationships/tags" Target="../tags/tag369.xml"/><Relationship Id="rId97" Type="http://schemas.openxmlformats.org/officeDocument/2006/relationships/tags" Target="../tags/tag390.xml"/><Relationship Id="rId104" Type="http://schemas.openxmlformats.org/officeDocument/2006/relationships/tags" Target="../tags/tag397.xml"/><Relationship Id="rId120" Type="http://schemas.openxmlformats.org/officeDocument/2006/relationships/tags" Target="../tags/tag413.xml"/><Relationship Id="rId125" Type="http://schemas.openxmlformats.org/officeDocument/2006/relationships/tags" Target="../tags/tag418.xml"/><Relationship Id="rId7" Type="http://schemas.openxmlformats.org/officeDocument/2006/relationships/tags" Target="../tags/tag300.xml"/><Relationship Id="rId71" Type="http://schemas.openxmlformats.org/officeDocument/2006/relationships/tags" Target="../tags/tag364.xml"/><Relationship Id="rId92" Type="http://schemas.openxmlformats.org/officeDocument/2006/relationships/tags" Target="../tags/tag385.xml"/><Relationship Id="rId2" Type="http://schemas.openxmlformats.org/officeDocument/2006/relationships/tags" Target="../tags/tag295.xml"/><Relationship Id="rId29" Type="http://schemas.openxmlformats.org/officeDocument/2006/relationships/tags" Target="../tags/tag322.xml"/><Relationship Id="rId24" Type="http://schemas.openxmlformats.org/officeDocument/2006/relationships/tags" Target="../tags/tag317.xml"/><Relationship Id="rId40" Type="http://schemas.openxmlformats.org/officeDocument/2006/relationships/tags" Target="../tags/tag333.xml"/><Relationship Id="rId45" Type="http://schemas.openxmlformats.org/officeDocument/2006/relationships/tags" Target="../tags/tag338.xml"/><Relationship Id="rId66" Type="http://schemas.openxmlformats.org/officeDocument/2006/relationships/tags" Target="../tags/tag359.xml"/><Relationship Id="rId87" Type="http://schemas.openxmlformats.org/officeDocument/2006/relationships/tags" Target="../tags/tag380.xml"/><Relationship Id="rId110" Type="http://schemas.openxmlformats.org/officeDocument/2006/relationships/tags" Target="../tags/tag403.xml"/><Relationship Id="rId115" Type="http://schemas.openxmlformats.org/officeDocument/2006/relationships/tags" Target="../tags/tag408.xml"/><Relationship Id="rId131" Type="http://schemas.openxmlformats.org/officeDocument/2006/relationships/image" Target="../media/image3.emf"/><Relationship Id="rId136" Type="http://schemas.openxmlformats.org/officeDocument/2006/relationships/image" Target="../media/image7.png"/><Relationship Id="rId61" Type="http://schemas.openxmlformats.org/officeDocument/2006/relationships/tags" Target="../tags/tag354.xml"/><Relationship Id="rId82" Type="http://schemas.openxmlformats.org/officeDocument/2006/relationships/tags" Target="../tags/tag375.xml"/><Relationship Id="rId19" Type="http://schemas.openxmlformats.org/officeDocument/2006/relationships/tags" Target="../tags/tag312.xml"/><Relationship Id="rId14" Type="http://schemas.openxmlformats.org/officeDocument/2006/relationships/tags" Target="../tags/tag307.xml"/><Relationship Id="rId30" Type="http://schemas.openxmlformats.org/officeDocument/2006/relationships/tags" Target="../tags/tag323.xml"/><Relationship Id="rId35" Type="http://schemas.openxmlformats.org/officeDocument/2006/relationships/tags" Target="../tags/tag328.xml"/><Relationship Id="rId56" Type="http://schemas.openxmlformats.org/officeDocument/2006/relationships/tags" Target="../tags/tag349.xml"/><Relationship Id="rId77" Type="http://schemas.openxmlformats.org/officeDocument/2006/relationships/tags" Target="../tags/tag370.xml"/><Relationship Id="rId100" Type="http://schemas.openxmlformats.org/officeDocument/2006/relationships/tags" Target="../tags/tag393.xml"/><Relationship Id="rId105" Type="http://schemas.openxmlformats.org/officeDocument/2006/relationships/tags" Target="../tags/tag398.xml"/><Relationship Id="rId126" Type="http://schemas.openxmlformats.org/officeDocument/2006/relationships/tags" Target="../tags/tag419.xml"/><Relationship Id="rId8" Type="http://schemas.openxmlformats.org/officeDocument/2006/relationships/tags" Target="../tags/tag301.xml"/><Relationship Id="rId51" Type="http://schemas.openxmlformats.org/officeDocument/2006/relationships/tags" Target="../tags/tag344.xml"/><Relationship Id="rId72" Type="http://schemas.openxmlformats.org/officeDocument/2006/relationships/tags" Target="../tags/tag365.xml"/><Relationship Id="rId93" Type="http://schemas.openxmlformats.org/officeDocument/2006/relationships/tags" Target="../tags/tag386.xml"/><Relationship Id="rId98" Type="http://schemas.openxmlformats.org/officeDocument/2006/relationships/tags" Target="../tags/tag391.xml"/><Relationship Id="rId121" Type="http://schemas.openxmlformats.org/officeDocument/2006/relationships/tags" Target="../tags/tag414.xml"/><Relationship Id="rId3" Type="http://schemas.openxmlformats.org/officeDocument/2006/relationships/tags" Target="../tags/tag296.xml"/><Relationship Id="rId25" Type="http://schemas.openxmlformats.org/officeDocument/2006/relationships/tags" Target="../tags/tag318.xml"/><Relationship Id="rId46" Type="http://schemas.openxmlformats.org/officeDocument/2006/relationships/tags" Target="../tags/tag339.xml"/><Relationship Id="rId67" Type="http://schemas.openxmlformats.org/officeDocument/2006/relationships/tags" Target="../tags/tag360.xml"/><Relationship Id="rId116" Type="http://schemas.openxmlformats.org/officeDocument/2006/relationships/tags" Target="../tags/tag409.xml"/><Relationship Id="rId20" Type="http://schemas.openxmlformats.org/officeDocument/2006/relationships/tags" Target="../tags/tag313.xml"/><Relationship Id="rId41" Type="http://schemas.openxmlformats.org/officeDocument/2006/relationships/tags" Target="../tags/tag334.xml"/><Relationship Id="rId62" Type="http://schemas.openxmlformats.org/officeDocument/2006/relationships/tags" Target="../tags/tag355.xml"/><Relationship Id="rId83" Type="http://schemas.openxmlformats.org/officeDocument/2006/relationships/tags" Target="../tags/tag376.xml"/><Relationship Id="rId88" Type="http://schemas.openxmlformats.org/officeDocument/2006/relationships/tags" Target="../tags/tag381.xml"/><Relationship Id="rId111" Type="http://schemas.openxmlformats.org/officeDocument/2006/relationships/tags" Target="../tags/tag404.xml"/><Relationship Id="rId132" Type="http://schemas.openxmlformats.org/officeDocument/2006/relationships/chart" Target="../charts/chart10.xml"/><Relationship Id="rId15" Type="http://schemas.openxmlformats.org/officeDocument/2006/relationships/tags" Target="../tags/tag308.xml"/><Relationship Id="rId36" Type="http://schemas.openxmlformats.org/officeDocument/2006/relationships/tags" Target="../tags/tag329.xml"/><Relationship Id="rId57" Type="http://schemas.openxmlformats.org/officeDocument/2006/relationships/tags" Target="../tags/tag350.xml"/><Relationship Id="rId106" Type="http://schemas.openxmlformats.org/officeDocument/2006/relationships/tags" Target="../tags/tag399.xml"/><Relationship Id="rId127" Type="http://schemas.openxmlformats.org/officeDocument/2006/relationships/tags" Target="../tags/tag420.xml"/><Relationship Id="rId10" Type="http://schemas.openxmlformats.org/officeDocument/2006/relationships/tags" Target="../tags/tag303.xml"/><Relationship Id="rId31" Type="http://schemas.openxmlformats.org/officeDocument/2006/relationships/tags" Target="../tags/tag324.xml"/><Relationship Id="rId52" Type="http://schemas.openxmlformats.org/officeDocument/2006/relationships/tags" Target="../tags/tag345.xml"/><Relationship Id="rId73" Type="http://schemas.openxmlformats.org/officeDocument/2006/relationships/tags" Target="../tags/tag366.xml"/><Relationship Id="rId78" Type="http://schemas.openxmlformats.org/officeDocument/2006/relationships/tags" Target="../tags/tag371.xml"/><Relationship Id="rId94" Type="http://schemas.openxmlformats.org/officeDocument/2006/relationships/tags" Target="../tags/tag387.xml"/><Relationship Id="rId99" Type="http://schemas.openxmlformats.org/officeDocument/2006/relationships/tags" Target="../tags/tag392.xml"/><Relationship Id="rId101" Type="http://schemas.openxmlformats.org/officeDocument/2006/relationships/tags" Target="../tags/tag394.xml"/><Relationship Id="rId122" Type="http://schemas.openxmlformats.org/officeDocument/2006/relationships/tags" Target="../tags/tag415.xml"/><Relationship Id="rId4" Type="http://schemas.openxmlformats.org/officeDocument/2006/relationships/tags" Target="../tags/tag297.xml"/><Relationship Id="rId9" Type="http://schemas.openxmlformats.org/officeDocument/2006/relationships/tags" Target="../tags/tag302.xml"/><Relationship Id="rId26" Type="http://schemas.openxmlformats.org/officeDocument/2006/relationships/tags" Target="../tags/tag319.xml"/><Relationship Id="rId47" Type="http://schemas.openxmlformats.org/officeDocument/2006/relationships/tags" Target="../tags/tag340.xml"/><Relationship Id="rId68" Type="http://schemas.openxmlformats.org/officeDocument/2006/relationships/tags" Target="../tags/tag361.xml"/><Relationship Id="rId89" Type="http://schemas.openxmlformats.org/officeDocument/2006/relationships/tags" Target="../tags/tag382.xml"/><Relationship Id="rId112" Type="http://schemas.openxmlformats.org/officeDocument/2006/relationships/tags" Target="../tags/tag405.xml"/><Relationship Id="rId133" Type="http://schemas.openxmlformats.org/officeDocument/2006/relationships/chart" Target="../charts/chart11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446.xml"/><Relationship Id="rId21" Type="http://schemas.openxmlformats.org/officeDocument/2006/relationships/tags" Target="../tags/tag441.xml"/><Relationship Id="rId42" Type="http://schemas.openxmlformats.org/officeDocument/2006/relationships/tags" Target="../tags/tag462.xml"/><Relationship Id="rId47" Type="http://schemas.openxmlformats.org/officeDocument/2006/relationships/tags" Target="../tags/tag467.xml"/><Relationship Id="rId63" Type="http://schemas.openxmlformats.org/officeDocument/2006/relationships/tags" Target="../tags/tag483.xml"/><Relationship Id="rId68" Type="http://schemas.openxmlformats.org/officeDocument/2006/relationships/tags" Target="../tags/tag488.xml"/><Relationship Id="rId84" Type="http://schemas.openxmlformats.org/officeDocument/2006/relationships/tags" Target="../tags/tag504.xml"/><Relationship Id="rId89" Type="http://schemas.openxmlformats.org/officeDocument/2006/relationships/tags" Target="../tags/tag509.xml"/><Relationship Id="rId112" Type="http://schemas.openxmlformats.org/officeDocument/2006/relationships/chart" Target="../charts/chart14.xml"/><Relationship Id="rId16" Type="http://schemas.openxmlformats.org/officeDocument/2006/relationships/tags" Target="../tags/tag436.xml"/><Relationship Id="rId107" Type="http://schemas.openxmlformats.org/officeDocument/2006/relationships/tags" Target="../tags/tag527.xml"/><Relationship Id="rId11" Type="http://schemas.openxmlformats.org/officeDocument/2006/relationships/tags" Target="../tags/tag431.xml"/><Relationship Id="rId32" Type="http://schemas.openxmlformats.org/officeDocument/2006/relationships/tags" Target="../tags/tag452.xml"/><Relationship Id="rId37" Type="http://schemas.openxmlformats.org/officeDocument/2006/relationships/tags" Target="../tags/tag457.xml"/><Relationship Id="rId53" Type="http://schemas.openxmlformats.org/officeDocument/2006/relationships/tags" Target="../tags/tag473.xml"/><Relationship Id="rId58" Type="http://schemas.openxmlformats.org/officeDocument/2006/relationships/tags" Target="../tags/tag478.xml"/><Relationship Id="rId74" Type="http://schemas.openxmlformats.org/officeDocument/2006/relationships/tags" Target="../tags/tag494.xml"/><Relationship Id="rId79" Type="http://schemas.openxmlformats.org/officeDocument/2006/relationships/tags" Target="../tags/tag499.xml"/><Relationship Id="rId102" Type="http://schemas.openxmlformats.org/officeDocument/2006/relationships/tags" Target="../tags/tag522.xml"/><Relationship Id="rId5" Type="http://schemas.openxmlformats.org/officeDocument/2006/relationships/tags" Target="../tags/tag425.xml"/><Relationship Id="rId90" Type="http://schemas.openxmlformats.org/officeDocument/2006/relationships/tags" Target="../tags/tag510.xml"/><Relationship Id="rId95" Type="http://schemas.openxmlformats.org/officeDocument/2006/relationships/tags" Target="../tags/tag515.xml"/><Relationship Id="rId22" Type="http://schemas.openxmlformats.org/officeDocument/2006/relationships/tags" Target="../tags/tag442.xml"/><Relationship Id="rId27" Type="http://schemas.openxmlformats.org/officeDocument/2006/relationships/tags" Target="../tags/tag447.xml"/><Relationship Id="rId43" Type="http://schemas.openxmlformats.org/officeDocument/2006/relationships/tags" Target="../tags/tag463.xml"/><Relationship Id="rId48" Type="http://schemas.openxmlformats.org/officeDocument/2006/relationships/tags" Target="../tags/tag468.xml"/><Relationship Id="rId64" Type="http://schemas.openxmlformats.org/officeDocument/2006/relationships/tags" Target="../tags/tag484.xml"/><Relationship Id="rId69" Type="http://schemas.openxmlformats.org/officeDocument/2006/relationships/tags" Target="../tags/tag489.xml"/><Relationship Id="rId113" Type="http://schemas.openxmlformats.org/officeDocument/2006/relationships/chart" Target="../charts/chart15.xml"/><Relationship Id="rId80" Type="http://schemas.openxmlformats.org/officeDocument/2006/relationships/tags" Target="../tags/tag500.xml"/><Relationship Id="rId85" Type="http://schemas.openxmlformats.org/officeDocument/2006/relationships/tags" Target="../tags/tag505.xml"/><Relationship Id="rId12" Type="http://schemas.openxmlformats.org/officeDocument/2006/relationships/tags" Target="../tags/tag432.xml"/><Relationship Id="rId17" Type="http://schemas.openxmlformats.org/officeDocument/2006/relationships/tags" Target="../tags/tag437.xml"/><Relationship Id="rId33" Type="http://schemas.openxmlformats.org/officeDocument/2006/relationships/tags" Target="../tags/tag453.xml"/><Relationship Id="rId38" Type="http://schemas.openxmlformats.org/officeDocument/2006/relationships/tags" Target="../tags/tag458.xml"/><Relationship Id="rId59" Type="http://schemas.openxmlformats.org/officeDocument/2006/relationships/tags" Target="../tags/tag479.xml"/><Relationship Id="rId103" Type="http://schemas.openxmlformats.org/officeDocument/2006/relationships/tags" Target="../tags/tag523.xml"/><Relationship Id="rId108" Type="http://schemas.openxmlformats.org/officeDocument/2006/relationships/slideLayout" Target="../slideLayouts/slideLayout2.xml"/><Relationship Id="rId54" Type="http://schemas.openxmlformats.org/officeDocument/2006/relationships/tags" Target="../tags/tag474.xml"/><Relationship Id="rId70" Type="http://schemas.openxmlformats.org/officeDocument/2006/relationships/tags" Target="../tags/tag490.xml"/><Relationship Id="rId75" Type="http://schemas.openxmlformats.org/officeDocument/2006/relationships/tags" Target="../tags/tag495.xml"/><Relationship Id="rId91" Type="http://schemas.openxmlformats.org/officeDocument/2006/relationships/tags" Target="../tags/tag511.xml"/><Relationship Id="rId96" Type="http://schemas.openxmlformats.org/officeDocument/2006/relationships/tags" Target="../tags/tag516.xml"/><Relationship Id="rId1" Type="http://schemas.openxmlformats.org/officeDocument/2006/relationships/tags" Target="../tags/tag421.xml"/><Relationship Id="rId6" Type="http://schemas.openxmlformats.org/officeDocument/2006/relationships/tags" Target="../tags/tag426.xml"/><Relationship Id="rId15" Type="http://schemas.openxmlformats.org/officeDocument/2006/relationships/tags" Target="../tags/tag435.xml"/><Relationship Id="rId23" Type="http://schemas.openxmlformats.org/officeDocument/2006/relationships/tags" Target="../tags/tag443.xml"/><Relationship Id="rId28" Type="http://schemas.openxmlformats.org/officeDocument/2006/relationships/tags" Target="../tags/tag448.xml"/><Relationship Id="rId36" Type="http://schemas.openxmlformats.org/officeDocument/2006/relationships/tags" Target="../tags/tag456.xml"/><Relationship Id="rId49" Type="http://schemas.openxmlformats.org/officeDocument/2006/relationships/tags" Target="../tags/tag469.xml"/><Relationship Id="rId57" Type="http://schemas.openxmlformats.org/officeDocument/2006/relationships/tags" Target="../tags/tag477.xml"/><Relationship Id="rId106" Type="http://schemas.openxmlformats.org/officeDocument/2006/relationships/tags" Target="../tags/tag526.xml"/><Relationship Id="rId114" Type="http://schemas.openxmlformats.org/officeDocument/2006/relationships/chart" Target="../charts/chart16.xml"/><Relationship Id="rId10" Type="http://schemas.openxmlformats.org/officeDocument/2006/relationships/tags" Target="../tags/tag430.xml"/><Relationship Id="rId31" Type="http://schemas.openxmlformats.org/officeDocument/2006/relationships/tags" Target="../tags/tag451.xml"/><Relationship Id="rId44" Type="http://schemas.openxmlformats.org/officeDocument/2006/relationships/tags" Target="../tags/tag464.xml"/><Relationship Id="rId52" Type="http://schemas.openxmlformats.org/officeDocument/2006/relationships/tags" Target="../tags/tag472.xml"/><Relationship Id="rId60" Type="http://schemas.openxmlformats.org/officeDocument/2006/relationships/tags" Target="../tags/tag480.xml"/><Relationship Id="rId65" Type="http://schemas.openxmlformats.org/officeDocument/2006/relationships/tags" Target="../tags/tag485.xml"/><Relationship Id="rId73" Type="http://schemas.openxmlformats.org/officeDocument/2006/relationships/tags" Target="../tags/tag493.xml"/><Relationship Id="rId78" Type="http://schemas.openxmlformats.org/officeDocument/2006/relationships/tags" Target="../tags/tag498.xml"/><Relationship Id="rId81" Type="http://schemas.openxmlformats.org/officeDocument/2006/relationships/tags" Target="../tags/tag501.xml"/><Relationship Id="rId86" Type="http://schemas.openxmlformats.org/officeDocument/2006/relationships/tags" Target="../tags/tag506.xml"/><Relationship Id="rId94" Type="http://schemas.openxmlformats.org/officeDocument/2006/relationships/tags" Target="../tags/tag514.xml"/><Relationship Id="rId99" Type="http://schemas.openxmlformats.org/officeDocument/2006/relationships/tags" Target="../tags/tag519.xml"/><Relationship Id="rId101" Type="http://schemas.openxmlformats.org/officeDocument/2006/relationships/tags" Target="../tags/tag521.xml"/><Relationship Id="rId4" Type="http://schemas.openxmlformats.org/officeDocument/2006/relationships/tags" Target="../tags/tag424.xml"/><Relationship Id="rId9" Type="http://schemas.openxmlformats.org/officeDocument/2006/relationships/tags" Target="../tags/tag429.xml"/><Relationship Id="rId13" Type="http://schemas.openxmlformats.org/officeDocument/2006/relationships/tags" Target="../tags/tag433.xml"/><Relationship Id="rId18" Type="http://schemas.openxmlformats.org/officeDocument/2006/relationships/tags" Target="../tags/tag438.xml"/><Relationship Id="rId39" Type="http://schemas.openxmlformats.org/officeDocument/2006/relationships/tags" Target="../tags/tag459.xml"/><Relationship Id="rId109" Type="http://schemas.openxmlformats.org/officeDocument/2006/relationships/notesSlide" Target="../notesSlides/notesSlide6.xml"/><Relationship Id="rId34" Type="http://schemas.openxmlformats.org/officeDocument/2006/relationships/tags" Target="../tags/tag454.xml"/><Relationship Id="rId50" Type="http://schemas.openxmlformats.org/officeDocument/2006/relationships/tags" Target="../tags/tag470.xml"/><Relationship Id="rId55" Type="http://schemas.openxmlformats.org/officeDocument/2006/relationships/tags" Target="../tags/tag475.xml"/><Relationship Id="rId76" Type="http://schemas.openxmlformats.org/officeDocument/2006/relationships/tags" Target="../tags/tag496.xml"/><Relationship Id="rId97" Type="http://schemas.openxmlformats.org/officeDocument/2006/relationships/tags" Target="../tags/tag517.xml"/><Relationship Id="rId104" Type="http://schemas.openxmlformats.org/officeDocument/2006/relationships/tags" Target="../tags/tag524.xml"/><Relationship Id="rId7" Type="http://schemas.openxmlformats.org/officeDocument/2006/relationships/tags" Target="../tags/tag427.xml"/><Relationship Id="rId71" Type="http://schemas.openxmlformats.org/officeDocument/2006/relationships/tags" Target="../tags/tag491.xml"/><Relationship Id="rId92" Type="http://schemas.openxmlformats.org/officeDocument/2006/relationships/tags" Target="../tags/tag512.xml"/><Relationship Id="rId2" Type="http://schemas.openxmlformats.org/officeDocument/2006/relationships/tags" Target="../tags/tag422.xml"/><Relationship Id="rId29" Type="http://schemas.openxmlformats.org/officeDocument/2006/relationships/tags" Target="../tags/tag449.xml"/><Relationship Id="rId24" Type="http://schemas.openxmlformats.org/officeDocument/2006/relationships/tags" Target="../tags/tag444.xml"/><Relationship Id="rId40" Type="http://schemas.openxmlformats.org/officeDocument/2006/relationships/tags" Target="../tags/tag460.xml"/><Relationship Id="rId45" Type="http://schemas.openxmlformats.org/officeDocument/2006/relationships/tags" Target="../tags/tag465.xml"/><Relationship Id="rId66" Type="http://schemas.openxmlformats.org/officeDocument/2006/relationships/tags" Target="../tags/tag486.xml"/><Relationship Id="rId87" Type="http://schemas.openxmlformats.org/officeDocument/2006/relationships/tags" Target="../tags/tag507.xml"/><Relationship Id="rId110" Type="http://schemas.openxmlformats.org/officeDocument/2006/relationships/oleObject" Target="../embeddings/oleObject7.bin"/><Relationship Id="rId115" Type="http://schemas.openxmlformats.org/officeDocument/2006/relationships/chart" Target="../charts/chart17.xml"/><Relationship Id="rId61" Type="http://schemas.openxmlformats.org/officeDocument/2006/relationships/tags" Target="../tags/tag481.xml"/><Relationship Id="rId82" Type="http://schemas.openxmlformats.org/officeDocument/2006/relationships/tags" Target="../tags/tag502.xml"/><Relationship Id="rId19" Type="http://schemas.openxmlformats.org/officeDocument/2006/relationships/tags" Target="../tags/tag439.xml"/><Relationship Id="rId14" Type="http://schemas.openxmlformats.org/officeDocument/2006/relationships/tags" Target="../tags/tag434.xml"/><Relationship Id="rId30" Type="http://schemas.openxmlformats.org/officeDocument/2006/relationships/tags" Target="../tags/tag450.xml"/><Relationship Id="rId35" Type="http://schemas.openxmlformats.org/officeDocument/2006/relationships/tags" Target="../tags/tag455.xml"/><Relationship Id="rId56" Type="http://schemas.openxmlformats.org/officeDocument/2006/relationships/tags" Target="../tags/tag476.xml"/><Relationship Id="rId77" Type="http://schemas.openxmlformats.org/officeDocument/2006/relationships/tags" Target="../tags/tag497.xml"/><Relationship Id="rId100" Type="http://schemas.openxmlformats.org/officeDocument/2006/relationships/tags" Target="../tags/tag520.xml"/><Relationship Id="rId105" Type="http://schemas.openxmlformats.org/officeDocument/2006/relationships/tags" Target="../tags/tag525.xml"/><Relationship Id="rId8" Type="http://schemas.openxmlformats.org/officeDocument/2006/relationships/tags" Target="../tags/tag428.xml"/><Relationship Id="rId51" Type="http://schemas.openxmlformats.org/officeDocument/2006/relationships/tags" Target="../tags/tag471.xml"/><Relationship Id="rId72" Type="http://schemas.openxmlformats.org/officeDocument/2006/relationships/tags" Target="../tags/tag492.xml"/><Relationship Id="rId93" Type="http://schemas.openxmlformats.org/officeDocument/2006/relationships/tags" Target="../tags/tag513.xml"/><Relationship Id="rId98" Type="http://schemas.openxmlformats.org/officeDocument/2006/relationships/tags" Target="../tags/tag518.xml"/><Relationship Id="rId3" Type="http://schemas.openxmlformats.org/officeDocument/2006/relationships/tags" Target="../tags/tag423.xml"/><Relationship Id="rId25" Type="http://schemas.openxmlformats.org/officeDocument/2006/relationships/tags" Target="../tags/tag445.xml"/><Relationship Id="rId46" Type="http://schemas.openxmlformats.org/officeDocument/2006/relationships/tags" Target="../tags/tag466.xml"/><Relationship Id="rId67" Type="http://schemas.openxmlformats.org/officeDocument/2006/relationships/tags" Target="../tags/tag487.xml"/><Relationship Id="rId116" Type="http://schemas.openxmlformats.org/officeDocument/2006/relationships/image" Target="../media/image8.png"/><Relationship Id="rId20" Type="http://schemas.openxmlformats.org/officeDocument/2006/relationships/tags" Target="../tags/tag440.xml"/><Relationship Id="rId41" Type="http://schemas.openxmlformats.org/officeDocument/2006/relationships/tags" Target="../tags/tag461.xml"/><Relationship Id="rId62" Type="http://schemas.openxmlformats.org/officeDocument/2006/relationships/tags" Target="../tags/tag482.xml"/><Relationship Id="rId83" Type="http://schemas.openxmlformats.org/officeDocument/2006/relationships/tags" Target="../tags/tag503.xml"/><Relationship Id="rId88" Type="http://schemas.openxmlformats.org/officeDocument/2006/relationships/tags" Target="../tags/tag508.xml"/><Relationship Id="rId111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553.xml"/><Relationship Id="rId117" Type="http://schemas.openxmlformats.org/officeDocument/2006/relationships/tags" Target="../tags/tag644.xml"/><Relationship Id="rId21" Type="http://schemas.openxmlformats.org/officeDocument/2006/relationships/tags" Target="../tags/tag548.xml"/><Relationship Id="rId42" Type="http://schemas.openxmlformats.org/officeDocument/2006/relationships/tags" Target="../tags/tag569.xml"/><Relationship Id="rId47" Type="http://schemas.openxmlformats.org/officeDocument/2006/relationships/tags" Target="../tags/tag574.xml"/><Relationship Id="rId63" Type="http://schemas.openxmlformats.org/officeDocument/2006/relationships/tags" Target="../tags/tag590.xml"/><Relationship Id="rId68" Type="http://schemas.openxmlformats.org/officeDocument/2006/relationships/tags" Target="../tags/tag595.xml"/><Relationship Id="rId84" Type="http://schemas.openxmlformats.org/officeDocument/2006/relationships/tags" Target="../tags/tag611.xml"/><Relationship Id="rId89" Type="http://schemas.openxmlformats.org/officeDocument/2006/relationships/tags" Target="../tags/tag616.xml"/><Relationship Id="rId112" Type="http://schemas.openxmlformats.org/officeDocument/2006/relationships/tags" Target="../tags/tag639.xml"/><Relationship Id="rId16" Type="http://schemas.openxmlformats.org/officeDocument/2006/relationships/tags" Target="../tags/tag543.xml"/><Relationship Id="rId107" Type="http://schemas.openxmlformats.org/officeDocument/2006/relationships/tags" Target="../tags/tag634.xml"/><Relationship Id="rId11" Type="http://schemas.openxmlformats.org/officeDocument/2006/relationships/tags" Target="../tags/tag538.xml"/><Relationship Id="rId32" Type="http://schemas.openxmlformats.org/officeDocument/2006/relationships/tags" Target="../tags/tag559.xml"/><Relationship Id="rId37" Type="http://schemas.openxmlformats.org/officeDocument/2006/relationships/tags" Target="../tags/tag564.xml"/><Relationship Id="rId53" Type="http://schemas.openxmlformats.org/officeDocument/2006/relationships/tags" Target="../tags/tag580.xml"/><Relationship Id="rId58" Type="http://schemas.openxmlformats.org/officeDocument/2006/relationships/tags" Target="../tags/tag585.xml"/><Relationship Id="rId74" Type="http://schemas.openxmlformats.org/officeDocument/2006/relationships/tags" Target="../tags/tag601.xml"/><Relationship Id="rId79" Type="http://schemas.openxmlformats.org/officeDocument/2006/relationships/tags" Target="../tags/tag606.xml"/><Relationship Id="rId102" Type="http://schemas.openxmlformats.org/officeDocument/2006/relationships/tags" Target="../tags/tag629.xml"/><Relationship Id="rId123" Type="http://schemas.openxmlformats.org/officeDocument/2006/relationships/image" Target="../media/image3.emf"/><Relationship Id="rId5" Type="http://schemas.openxmlformats.org/officeDocument/2006/relationships/tags" Target="../tags/tag532.xml"/><Relationship Id="rId90" Type="http://schemas.openxmlformats.org/officeDocument/2006/relationships/tags" Target="../tags/tag617.xml"/><Relationship Id="rId95" Type="http://schemas.openxmlformats.org/officeDocument/2006/relationships/tags" Target="../tags/tag622.xml"/><Relationship Id="rId22" Type="http://schemas.openxmlformats.org/officeDocument/2006/relationships/tags" Target="../tags/tag549.xml"/><Relationship Id="rId27" Type="http://schemas.openxmlformats.org/officeDocument/2006/relationships/tags" Target="../tags/tag554.xml"/><Relationship Id="rId43" Type="http://schemas.openxmlformats.org/officeDocument/2006/relationships/tags" Target="../tags/tag570.xml"/><Relationship Id="rId48" Type="http://schemas.openxmlformats.org/officeDocument/2006/relationships/tags" Target="../tags/tag575.xml"/><Relationship Id="rId64" Type="http://schemas.openxmlformats.org/officeDocument/2006/relationships/tags" Target="../tags/tag591.xml"/><Relationship Id="rId69" Type="http://schemas.openxmlformats.org/officeDocument/2006/relationships/tags" Target="../tags/tag596.xml"/><Relationship Id="rId113" Type="http://schemas.openxmlformats.org/officeDocument/2006/relationships/tags" Target="../tags/tag640.xml"/><Relationship Id="rId118" Type="http://schemas.openxmlformats.org/officeDocument/2006/relationships/tags" Target="../tags/tag645.xml"/><Relationship Id="rId80" Type="http://schemas.openxmlformats.org/officeDocument/2006/relationships/tags" Target="../tags/tag607.xml"/><Relationship Id="rId85" Type="http://schemas.openxmlformats.org/officeDocument/2006/relationships/tags" Target="../tags/tag612.xml"/><Relationship Id="rId12" Type="http://schemas.openxmlformats.org/officeDocument/2006/relationships/tags" Target="../tags/tag539.xml"/><Relationship Id="rId17" Type="http://schemas.openxmlformats.org/officeDocument/2006/relationships/tags" Target="../tags/tag544.xml"/><Relationship Id="rId33" Type="http://schemas.openxmlformats.org/officeDocument/2006/relationships/tags" Target="../tags/tag560.xml"/><Relationship Id="rId38" Type="http://schemas.openxmlformats.org/officeDocument/2006/relationships/tags" Target="../tags/tag565.xml"/><Relationship Id="rId59" Type="http://schemas.openxmlformats.org/officeDocument/2006/relationships/tags" Target="../tags/tag586.xml"/><Relationship Id="rId103" Type="http://schemas.openxmlformats.org/officeDocument/2006/relationships/tags" Target="../tags/tag630.xml"/><Relationship Id="rId108" Type="http://schemas.openxmlformats.org/officeDocument/2006/relationships/tags" Target="../tags/tag635.xml"/><Relationship Id="rId124" Type="http://schemas.openxmlformats.org/officeDocument/2006/relationships/chart" Target="../charts/chart18.xml"/><Relationship Id="rId54" Type="http://schemas.openxmlformats.org/officeDocument/2006/relationships/tags" Target="../tags/tag581.xml"/><Relationship Id="rId70" Type="http://schemas.openxmlformats.org/officeDocument/2006/relationships/tags" Target="../tags/tag597.xml"/><Relationship Id="rId75" Type="http://schemas.openxmlformats.org/officeDocument/2006/relationships/tags" Target="../tags/tag602.xml"/><Relationship Id="rId91" Type="http://schemas.openxmlformats.org/officeDocument/2006/relationships/tags" Target="../tags/tag618.xml"/><Relationship Id="rId96" Type="http://schemas.openxmlformats.org/officeDocument/2006/relationships/tags" Target="../tags/tag623.xml"/><Relationship Id="rId1" Type="http://schemas.openxmlformats.org/officeDocument/2006/relationships/tags" Target="../tags/tag528.xml"/><Relationship Id="rId6" Type="http://schemas.openxmlformats.org/officeDocument/2006/relationships/tags" Target="../tags/tag533.xml"/><Relationship Id="rId23" Type="http://schemas.openxmlformats.org/officeDocument/2006/relationships/tags" Target="../tags/tag550.xml"/><Relationship Id="rId28" Type="http://schemas.openxmlformats.org/officeDocument/2006/relationships/tags" Target="../tags/tag555.xml"/><Relationship Id="rId49" Type="http://schemas.openxmlformats.org/officeDocument/2006/relationships/tags" Target="../tags/tag576.xml"/><Relationship Id="rId114" Type="http://schemas.openxmlformats.org/officeDocument/2006/relationships/tags" Target="../tags/tag641.xml"/><Relationship Id="rId119" Type="http://schemas.openxmlformats.org/officeDocument/2006/relationships/tags" Target="../tags/tag646.xml"/><Relationship Id="rId44" Type="http://schemas.openxmlformats.org/officeDocument/2006/relationships/tags" Target="../tags/tag571.xml"/><Relationship Id="rId60" Type="http://schemas.openxmlformats.org/officeDocument/2006/relationships/tags" Target="../tags/tag587.xml"/><Relationship Id="rId65" Type="http://schemas.openxmlformats.org/officeDocument/2006/relationships/tags" Target="../tags/tag592.xml"/><Relationship Id="rId81" Type="http://schemas.openxmlformats.org/officeDocument/2006/relationships/tags" Target="../tags/tag608.xml"/><Relationship Id="rId86" Type="http://schemas.openxmlformats.org/officeDocument/2006/relationships/tags" Target="../tags/tag613.xml"/><Relationship Id="rId13" Type="http://schemas.openxmlformats.org/officeDocument/2006/relationships/tags" Target="../tags/tag540.xml"/><Relationship Id="rId18" Type="http://schemas.openxmlformats.org/officeDocument/2006/relationships/tags" Target="../tags/tag545.xml"/><Relationship Id="rId39" Type="http://schemas.openxmlformats.org/officeDocument/2006/relationships/tags" Target="../tags/tag566.xml"/><Relationship Id="rId109" Type="http://schemas.openxmlformats.org/officeDocument/2006/relationships/tags" Target="../tags/tag636.xml"/><Relationship Id="rId34" Type="http://schemas.openxmlformats.org/officeDocument/2006/relationships/tags" Target="../tags/tag561.xml"/><Relationship Id="rId50" Type="http://schemas.openxmlformats.org/officeDocument/2006/relationships/tags" Target="../tags/tag577.xml"/><Relationship Id="rId55" Type="http://schemas.openxmlformats.org/officeDocument/2006/relationships/tags" Target="../tags/tag582.xml"/><Relationship Id="rId76" Type="http://schemas.openxmlformats.org/officeDocument/2006/relationships/tags" Target="../tags/tag603.xml"/><Relationship Id="rId97" Type="http://schemas.openxmlformats.org/officeDocument/2006/relationships/tags" Target="../tags/tag624.xml"/><Relationship Id="rId104" Type="http://schemas.openxmlformats.org/officeDocument/2006/relationships/tags" Target="../tags/tag631.xml"/><Relationship Id="rId120" Type="http://schemas.openxmlformats.org/officeDocument/2006/relationships/slideLayout" Target="../slideLayouts/slideLayout2.xml"/><Relationship Id="rId125" Type="http://schemas.openxmlformats.org/officeDocument/2006/relationships/chart" Target="../charts/chart19.xml"/><Relationship Id="rId7" Type="http://schemas.openxmlformats.org/officeDocument/2006/relationships/tags" Target="../tags/tag534.xml"/><Relationship Id="rId71" Type="http://schemas.openxmlformats.org/officeDocument/2006/relationships/tags" Target="../tags/tag598.xml"/><Relationship Id="rId92" Type="http://schemas.openxmlformats.org/officeDocument/2006/relationships/tags" Target="../tags/tag619.xml"/><Relationship Id="rId2" Type="http://schemas.openxmlformats.org/officeDocument/2006/relationships/tags" Target="../tags/tag529.xml"/><Relationship Id="rId29" Type="http://schemas.openxmlformats.org/officeDocument/2006/relationships/tags" Target="../tags/tag556.xml"/><Relationship Id="rId24" Type="http://schemas.openxmlformats.org/officeDocument/2006/relationships/tags" Target="../tags/tag551.xml"/><Relationship Id="rId40" Type="http://schemas.openxmlformats.org/officeDocument/2006/relationships/tags" Target="../tags/tag567.xml"/><Relationship Id="rId45" Type="http://schemas.openxmlformats.org/officeDocument/2006/relationships/tags" Target="../tags/tag572.xml"/><Relationship Id="rId66" Type="http://schemas.openxmlformats.org/officeDocument/2006/relationships/tags" Target="../tags/tag593.xml"/><Relationship Id="rId87" Type="http://schemas.openxmlformats.org/officeDocument/2006/relationships/tags" Target="../tags/tag614.xml"/><Relationship Id="rId110" Type="http://schemas.openxmlformats.org/officeDocument/2006/relationships/tags" Target="../tags/tag637.xml"/><Relationship Id="rId115" Type="http://schemas.openxmlformats.org/officeDocument/2006/relationships/tags" Target="../tags/tag642.xml"/><Relationship Id="rId61" Type="http://schemas.openxmlformats.org/officeDocument/2006/relationships/tags" Target="../tags/tag588.xml"/><Relationship Id="rId82" Type="http://schemas.openxmlformats.org/officeDocument/2006/relationships/tags" Target="../tags/tag609.xml"/><Relationship Id="rId19" Type="http://schemas.openxmlformats.org/officeDocument/2006/relationships/tags" Target="../tags/tag546.xml"/><Relationship Id="rId14" Type="http://schemas.openxmlformats.org/officeDocument/2006/relationships/tags" Target="../tags/tag541.xml"/><Relationship Id="rId30" Type="http://schemas.openxmlformats.org/officeDocument/2006/relationships/tags" Target="../tags/tag557.xml"/><Relationship Id="rId35" Type="http://schemas.openxmlformats.org/officeDocument/2006/relationships/tags" Target="../tags/tag562.xml"/><Relationship Id="rId56" Type="http://schemas.openxmlformats.org/officeDocument/2006/relationships/tags" Target="../tags/tag583.xml"/><Relationship Id="rId77" Type="http://schemas.openxmlformats.org/officeDocument/2006/relationships/tags" Target="../tags/tag604.xml"/><Relationship Id="rId100" Type="http://schemas.openxmlformats.org/officeDocument/2006/relationships/tags" Target="../tags/tag627.xml"/><Relationship Id="rId105" Type="http://schemas.openxmlformats.org/officeDocument/2006/relationships/tags" Target="../tags/tag632.xml"/><Relationship Id="rId126" Type="http://schemas.openxmlformats.org/officeDocument/2006/relationships/chart" Target="../charts/chart20.xml"/><Relationship Id="rId8" Type="http://schemas.openxmlformats.org/officeDocument/2006/relationships/tags" Target="../tags/tag535.xml"/><Relationship Id="rId51" Type="http://schemas.openxmlformats.org/officeDocument/2006/relationships/tags" Target="../tags/tag578.xml"/><Relationship Id="rId72" Type="http://schemas.openxmlformats.org/officeDocument/2006/relationships/tags" Target="../tags/tag599.xml"/><Relationship Id="rId93" Type="http://schemas.openxmlformats.org/officeDocument/2006/relationships/tags" Target="../tags/tag620.xml"/><Relationship Id="rId98" Type="http://schemas.openxmlformats.org/officeDocument/2006/relationships/tags" Target="../tags/tag625.xml"/><Relationship Id="rId121" Type="http://schemas.openxmlformats.org/officeDocument/2006/relationships/notesSlide" Target="../notesSlides/notesSlide7.xml"/><Relationship Id="rId3" Type="http://schemas.openxmlformats.org/officeDocument/2006/relationships/tags" Target="../tags/tag530.xml"/><Relationship Id="rId25" Type="http://schemas.openxmlformats.org/officeDocument/2006/relationships/tags" Target="../tags/tag552.xml"/><Relationship Id="rId46" Type="http://schemas.openxmlformats.org/officeDocument/2006/relationships/tags" Target="../tags/tag573.xml"/><Relationship Id="rId67" Type="http://schemas.openxmlformats.org/officeDocument/2006/relationships/tags" Target="../tags/tag594.xml"/><Relationship Id="rId116" Type="http://schemas.openxmlformats.org/officeDocument/2006/relationships/tags" Target="../tags/tag643.xml"/><Relationship Id="rId20" Type="http://schemas.openxmlformats.org/officeDocument/2006/relationships/tags" Target="../tags/tag547.xml"/><Relationship Id="rId41" Type="http://schemas.openxmlformats.org/officeDocument/2006/relationships/tags" Target="../tags/tag568.xml"/><Relationship Id="rId62" Type="http://schemas.openxmlformats.org/officeDocument/2006/relationships/tags" Target="../tags/tag589.xml"/><Relationship Id="rId83" Type="http://schemas.openxmlformats.org/officeDocument/2006/relationships/tags" Target="../tags/tag610.xml"/><Relationship Id="rId88" Type="http://schemas.openxmlformats.org/officeDocument/2006/relationships/tags" Target="../tags/tag615.xml"/><Relationship Id="rId111" Type="http://schemas.openxmlformats.org/officeDocument/2006/relationships/tags" Target="../tags/tag638.xml"/><Relationship Id="rId15" Type="http://schemas.openxmlformats.org/officeDocument/2006/relationships/tags" Target="../tags/tag542.xml"/><Relationship Id="rId36" Type="http://schemas.openxmlformats.org/officeDocument/2006/relationships/tags" Target="../tags/tag563.xml"/><Relationship Id="rId57" Type="http://schemas.openxmlformats.org/officeDocument/2006/relationships/tags" Target="../tags/tag584.xml"/><Relationship Id="rId106" Type="http://schemas.openxmlformats.org/officeDocument/2006/relationships/tags" Target="../tags/tag633.xml"/><Relationship Id="rId127" Type="http://schemas.openxmlformats.org/officeDocument/2006/relationships/chart" Target="../charts/chart21.xml"/><Relationship Id="rId10" Type="http://schemas.openxmlformats.org/officeDocument/2006/relationships/tags" Target="../tags/tag537.xml"/><Relationship Id="rId31" Type="http://schemas.openxmlformats.org/officeDocument/2006/relationships/tags" Target="../tags/tag558.xml"/><Relationship Id="rId52" Type="http://schemas.openxmlformats.org/officeDocument/2006/relationships/tags" Target="../tags/tag579.xml"/><Relationship Id="rId73" Type="http://schemas.openxmlformats.org/officeDocument/2006/relationships/tags" Target="../tags/tag600.xml"/><Relationship Id="rId78" Type="http://schemas.openxmlformats.org/officeDocument/2006/relationships/tags" Target="../tags/tag605.xml"/><Relationship Id="rId94" Type="http://schemas.openxmlformats.org/officeDocument/2006/relationships/tags" Target="../tags/tag621.xml"/><Relationship Id="rId99" Type="http://schemas.openxmlformats.org/officeDocument/2006/relationships/tags" Target="../tags/tag626.xml"/><Relationship Id="rId101" Type="http://schemas.openxmlformats.org/officeDocument/2006/relationships/tags" Target="../tags/tag628.xml"/><Relationship Id="rId122" Type="http://schemas.openxmlformats.org/officeDocument/2006/relationships/oleObject" Target="../embeddings/oleObject8.bin"/><Relationship Id="rId4" Type="http://schemas.openxmlformats.org/officeDocument/2006/relationships/tags" Target="../tags/tag531.xml"/><Relationship Id="rId9" Type="http://schemas.openxmlformats.org/officeDocument/2006/relationships/tags" Target="../tags/tag536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763.xml"/><Relationship Id="rId21" Type="http://schemas.openxmlformats.org/officeDocument/2006/relationships/tags" Target="../tags/tag667.xml"/><Relationship Id="rId42" Type="http://schemas.openxmlformats.org/officeDocument/2006/relationships/tags" Target="../tags/tag688.xml"/><Relationship Id="rId63" Type="http://schemas.openxmlformats.org/officeDocument/2006/relationships/tags" Target="../tags/tag709.xml"/><Relationship Id="rId84" Type="http://schemas.openxmlformats.org/officeDocument/2006/relationships/tags" Target="../tags/tag730.xml"/><Relationship Id="rId16" Type="http://schemas.openxmlformats.org/officeDocument/2006/relationships/tags" Target="../tags/tag662.xml"/><Relationship Id="rId107" Type="http://schemas.openxmlformats.org/officeDocument/2006/relationships/tags" Target="../tags/tag753.xml"/><Relationship Id="rId11" Type="http://schemas.openxmlformats.org/officeDocument/2006/relationships/tags" Target="../tags/tag657.xml"/><Relationship Id="rId32" Type="http://schemas.openxmlformats.org/officeDocument/2006/relationships/tags" Target="../tags/tag678.xml"/><Relationship Id="rId37" Type="http://schemas.openxmlformats.org/officeDocument/2006/relationships/tags" Target="../tags/tag683.xml"/><Relationship Id="rId53" Type="http://schemas.openxmlformats.org/officeDocument/2006/relationships/tags" Target="../tags/tag699.xml"/><Relationship Id="rId58" Type="http://schemas.openxmlformats.org/officeDocument/2006/relationships/tags" Target="../tags/tag704.xml"/><Relationship Id="rId74" Type="http://schemas.openxmlformats.org/officeDocument/2006/relationships/tags" Target="../tags/tag720.xml"/><Relationship Id="rId79" Type="http://schemas.openxmlformats.org/officeDocument/2006/relationships/tags" Target="../tags/tag725.xml"/><Relationship Id="rId102" Type="http://schemas.openxmlformats.org/officeDocument/2006/relationships/tags" Target="../tags/tag748.xml"/><Relationship Id="rId123" Type="http://schemas.openxmlformats.org/officeDocument/2006/relationships/tags" Target="../tags/tag769.xml"/><Relationship Id="rId128" Type="http://schemas.openxmlformats.org/officeDocument/2006/relationships/slideLayout" Target="../slideLayouts/slideLayout2.xml"/><Relationship Id="rId5" Type="http://schemas.openxmlformats.org/officeDocument/2006/relationships/tags" Target="../tags/tag651.xml"/><Relationship Id="rId90" Type="http://schemas.openxmlformats.org/officeDocument/2006/relationships/tags" Target="../tags/tag736.xml"/><Relationship Id="rId95" Type="http://schemas.openxmlformats.org/officeDocument/2006/relationships/tags" Target="../tags/tag741.xml"/><Relationship Id="rId22" Type="http://schemas.openxmlformats.org/officeDocument/2006/relationships/tags" Target="../tags/tag668.xml"/><Relationship Id="rId27" Type="http://schemas.openxmlformats.org/officeDocument/2006/relationships/tags" Target="../tags/tag673.xml"/><Relationship Id="rId43" Type="http://schemas.openxmlformats.org/officeDocument/2006/relationships/tags" Target="../tags/tag689.xml"/><Relationship Id="rId48" Type="http://schemas.openxmlformats.org/officeDocument/2006/relationships/tags" Target="../tags/tag694.xml"/><Relationship Id="rId64" Type="http://schemas.openxmlformats.org/officeDocument/2006/relationships/tags" Target="../tags/tag710.xml"/><Relationship Id="rId69" Type="http://schemas.openxmlformats.org/officeDocument/2006/relationships/tags" Target="../tags/tag715.xml"/><Relationship Id="rId113" Type="http://schemas.openxmlformats.org/officeDocument/2006/relationships/tags" Target="../tags/tag759.xml"/><Relationship Id="rId118" Type="http://schemas.openxmlformats.org/officeDocument/2006/relationships/tags" Target="../tags/tag764.xml"/><Relationship Id="rId134" Type="http://schemas.openxmlformats.org/officeDocument/2006/relationships/chart" Target="../charts/chart24.xml"/><Relationship Id="rId80" Type="http://schemas.openxmlformats.org/officeDocument/2006/relationships/tags" Target="../tags/tag726.xml"/><Relationship Id="rId85" Type="http://schemas.openxmlformats.org/officeDocument/2006/relationships/tags" Target="../tags/tag731.xml"/><Relationship Id="rId12" Type="http://schemas.openxmlformats.org/officeDocument/2006/relationships/tags" Target="../tags/tag658.xml"/><Relationship Id="rId17" Type="http://schemas.openxmlformats.org/officeDocument/2006/relationships/tags" Target="../tags/tag663.xml"/><Relationship Id="rId33" Type="http://schemas.openxmlformats.org/officeDocument/2006/relationships/tags" Target="../tags/tag679.xml"/><Relationship Id="rId38" Type="http://schemas.openxmlformats.org/officeDocument/2006/relationships/tags" Target="../tags/tag684.xml"/><Relationship Id="rId59" Type="http://schemas.openxmlformats.org/officeDocument/2006/relationships/tags" Target="../tags/tag705.xml"/><Relationship Id="rId103" Type="http://schemas.openxmlformats.org/officeDocument/2006/relationships/tags" Target="../tags/tag749.xml"/><Relationship Id="rId108" Type="http://schemas.openxmlformats.org/officeDocument/2006/relationships/tags" Target="../tags/tag754.xml"/><Relationship Id="rId124" Type="http://schemas.openxmlformats.org/officeDocument/2006/relationships/tags" Target="../tags/tag770.xml"/><Relationship Id="rId129" Type="http://schemas.openxmlformats.org/officeDocument/2006/relationships/notesSlide" Target="../notesSlides/notesSlide8.xml"/><Relationship Id="rId54" Type="http://schemas.openxmlformats.org/officeDocument/2006/relationships/tags" Target="../tags/tag700.xml"/><Relationship Id="rId70" Type="http://schemas.openxmlformats.org/officeDocument/2006/relationships/tags" Target="../tags/tag716.xml"/><Relationship Id="rId75" Type="http://schemas.openxmlformats.org/officeDocument/2006/relationships/tags" Target="../tags/tag721.xml"/><Relationship Id="rId91" Type="http://schemas.openxmlformats.org/officeDocument/2006/relationships/tags" Target="../tags/tag737.xml"/><Relationship Id="rId96" Type="http://schemas.openxmlformats.org/officeDocument/2006/relationships/tags" Target="../tags/tag742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23" Type="http://schemas.openxmlformats.org/officeDocument/2006/relationships/tags" Target="../tags/tag669.xml"/><Relationship Id="rId28" Type="http://schemas.openxmlformats.org/officeDocument/2006/relationships/tags" Target="../tags/tag674.xml"/><Relationship Id="rId49" Type="http://schemas.openxmlformats.org/officeDocument/2006/relationships/tags" Target="../tags/tag695.xml"/><Relationship Id="rId114" Type="http://schemas.openxmlformats.org/officeDocument/2006/relationships/tags" Target="../tags/tag760.xml"/><Relationship Id="rId119" Type="http://schemas.openxmlformats.org/officeDocument/2006/relationships/tags" Target="../tags/tag765.xml"/><Relationship Id="rId44" Type="http://schemas.openxmlformats.org/officeDocument/2006/relationships/tags" Target="../tags/tag690.xml"/><Relationship Id="rId60" Type="http://schemas.openxmlformats.org/officeDocument/2006/relationships/tags" Target="../tags/tag706.xml"/><Relationship Id="rId65" Type="http://schemas.openxmlformats.org/officeDocument/2006/relationships/tags" Target="../tags/tag711.xml"/><Relationship Id="rId81" Type="http://schemas.openxmlformats.org/officeDocument/2006/relationships/tags" Target="../tags/tag727.xml"/><Relationship Id="rId86" Type="http://schemas.openxmlformats.org/officeDocument/2006/relationships/tags" Target="../tags/tag732.xml"/><Relationship Id="rId130" Type="http://schemas.openxmlformats.org/officeDocument/2006/relationships/oleObject" Target="../embeddings/oleObject9.bin"/><Relationship Id="rId135" Type="http://schemas.openxmlformats.org/officeDocument/2006/relationships/chart" Target="../charts/chart25.xml"/><Relationship Id="rId13" Type="http://schemas.openxmlformats.org/officeDocument/2006/relationships/tags" Target="../tags/tag659.xml"/><Relationship Id="rId18" Type="http://schemas.openxmlformats.org/officeDocument/2006/relationships/tags" Target="../tags/tag664.xml"/><Relationship Id="rId39" Type="http://schemas.openxmlformats.org/officeDocument/2006/relationships/tags" Target="../tags/tag685.xml"/><Relationship Id="rId109" Type="http://schemas.openxmlformats.org/officeDocument/2006/relationships/tags" Target="../tags/tag755.xml"/><Relationship Id="rId34" Type="http://schemas.openxmlformats.org/officeDocument/2006/relationships/tags" Target="../tags/tag680.xml"/><Relationship Id="rId50" Type="http://schemas.openxmlformats.org/officeDocument/2006/relationships/tags" Target="../tags/tag696.xml"/><Relationship Id="rId55" Type="http://schemas.openxmlformats.org/officeDocument/2006/relationships/tags" Target="../tags/tag701.xml"/><Relationship Id="rId76" Type="http://schemas.openxmlformats.org/officeDocument/2006/relationships/tags" Target="../tags/tag722.xml"/><Relationship Id="rId97" Type="http://schemas.openxmlformats.org/officeDocument/2006/relationships/tags" Target="../tags/tag743.xml"/><Relationship Id="rId104" Type="http://schemas.openxmlformats.org/officeDocument/2006/relationships/tags" Target="../tags/tag750.xml"/><Relationship Id="rId120" Type="http://schemas.openxmlformats.org/officeDocument/2006/relationships/tags" Target="../tags/tag766.xml"/><Relationship Id="rId125" Type="http://schemas.openxmlformats.org/officeDocument/2006/relationships/tags" Target="../tags/tag771.xml"/><Relationship Id="rId7" Type="http://schemas.openxmlformats.org/officeDocument/2006/relationships/tags" Target="../tags/tag653.xml"/><Relationship Id="rId71" Type="http://schemas.openxmlformats.org/officeDocument/2006/relationships/tags" Target="../tags/tag717.xml"/><Relationship Id="rId92" Type="http://schemas.openxmlformats.org/officeDocument/2006/relationships/tags" Target="../tags/tag738.xml"/><Relationship Id="rId2" Type="http://schemas.openxmlformats.org/officeDocument/2006/relationships/tags" Target="../tags/tag648.xml"/><Relationship Id="rId29" Type="http://schemas.openxmlformats.org/officeDocument/2006/relationships/tags" Target="../tags/tag675.xml"/><Relationship Id="rId24" Type="http://schemas.openxmlformats.org/officeDocument/2006/relationships/tags" Target="../tags/tag670.xml"/><Relationship Id="rId40" Type="http://schemas.openxmlformats.org/officeDocument/2006/relationships/tags" Target="../tags/tag686.xml"/><Relationship Id="rId45" Type="http://schemas.openxmlformats.org/officeDocument/2006/relationships/tags" Target="../tags/tag691.xml"/><Relationship Id="rId66" Type="http://schemas.openxmlformats.org/officeDocument/2006/relationships/tags" Target="../tags/tag712.xml"/><Relationship Id="rId87" Type="http://schemas.openxmlformats.org/officeDocument/2006/relationships/tags" Target="../tags/tag733.xml"/><Relationship Id="rId110" Type="http://schemas.openxmlformats.org/officeDocument/2006/relationships/tags" Target="../tags/tag756.xml"/><Relationship Id="rId115" Type="http://schemas.openxmlformats.org/officeDocument/2006/relationships/tags" Target="../tags/tag761.xml"/><Relationship Id="rId131" Type="http://schemas.openxmlformats.org/officeDocument/2006/relationships/image" Target="../media/image3.emf"/><Relationship Id="rId61" Type="http://schemas.openxmlformats.org/officeDocument/2006/relationships/tags" Target="../tags/tag707.xml"/><Relationship Id="rId82" Type="http://schemas.openxmlformats.org/officeDocument/2006/relationships/tags" Target="../tags/tag728.xml"/><Relationship Id="rId19" Type="http://schemas.openxmlformats.org/officeDocument/2006/relationships/tags" Target="../tags/tag665.xml"/><Relationship Id="rId14" Type="http://schemas.openxmlformats.org/officeDocument/2006/relationships/tags" Target="../tags/tag660.xml"/><Relationship Id="rId30" Type="http://schemas.openxmlformats.org/officeDocument/2006/relationships/tags" Target="../tags/tag676.xml"/><Relationship Id="rId35" Type="http://schemas.openxmlformats.org/officeDocument/2006/relationships/tags" Target="../tags/tag681.xml"/><Relationship Id="rId56" Type="http://schemas.openxmlformats.org/officeDocument/2006/relationships/tags" Target="../tags/tag702.xml"/><Relationship Id="rId77" Type="http://schemas.openxmlformats.org/officeDocument/2006/relationships/tags" Target="../tags/tag723.xml"/><Relationship Id="rId100" Type="http://schemas.openxmlformats.org/officeDocument/2006/relationships/tags" Target="../tags/tag746.xml"/><Relationship Id="rId105" Type="http://schemas.openxmlformats.org/officeDocument/2006/relationships/tags" Target="../tags/tag751.xml"/><Relationship Id="rId126" Type="http://schemas.openxmlformats.org/officeDocument/2006/relationships/tags" Target="../tags/tag772.xml"/><Relationship Id="rId8" Type="http://schemas.openxmlformats.org/officeDocument/2006/relationships/tags" Target="../tags/tag654.xml"/><Relationship Id="rId51" Type="http://schemas.openxmlformats.org/officeDocument/2006/relationships/tags" Target="../tags/tag697.xml"/><Relationship Id="rId72" Type="http://schemas.openxmlformats.org/officeDocument/2006/relationships/tags" Target="../tags/tag718.xml"/><Relationship Id="rId93" Type="http://schemas.openxmlformats.org/officeDocument/2006/relationships/tags" Target="../tags/tag739.xml"/><Relationship Id="rId98" Type="http://schemas.openxmlformats.org/officeDocument/2006/relationships/tags" Target="../tags/tag744.xml"/><Relationship Id="rId121" Type="http://schemas.openxmlformats.org/officeDocument/2006/relationships/tags" Target="../tags/tag767.xml"/><Relationship Id="rId3" Type="http://schemas.openxmlformats.org/officeDocument/2006/relationships/tags" Target="../tags/tag649.xml"/><Relationship Id="rId25" Type="http://schemas.openxmlformats.org/officeDocument/2006/relationships/tags" Target="../tags/tag671.xml"/><Relationship Id="rId46" Type="http://schemas.openxmlformats.org/officeDocument/2006/relationships/tags" Target="../tags/tag692.xml"/><Relationship Id="rId67" Type="http://schemas.openxmlformats.org/officeDocument/2006/relationships/tags" Target="../tags/tag713.xml"/><Relationship Id="rId116" Type="http://schemas.openxmlformats.org/officeDocument/2006/relationships/tags" Target="../tags/tag762.xml"/><Relationship Id="rId20" Type="http://schemas.openxmlformats.org/officeDocument/2006/relationships/tags" Target="../tags/tag666.xml"/><Relationship Id="rId41" Type="http://schemas.openxmlformats.org/officeDocument/2006/relationships/tags" Target="../tags/tag687.xml"/><Relationship Id="rId62" Type="http://schemas.openxmlformats.org/officeDocument/2006/relationships/tags" Target="../tags/tag708.xml"/><Relationship Id="rId83" Type="http://schemas.openxmlformats.org/officeDocument/2006/relationships/tags" Target="../tags/tag729.xml"/><Relationship Id="rId88" Type="http://schemas.openxmlformats.org/officeDocument/2006/relationships/tags" Target="../tags/tag734.xml"/><Relationship Id="rId111" Type="http://schemas.openxmlformats.org/officeDocument/2006/relationships/tags" Target="../tags/tag757.xml"/><Relationship Id="rId132" Type="http://schemas.openxmlformats.org/officeDocument/2006/relationships/chart" Target="../charts/chart22.xml"/><Relationship Id="rId15" Type="http://schemas.openxmlformats.org/officeDocument/2006/relationships/tags" Target="../tags/tag661.xml"/><Relationship Id="rId36" Type="http://schemas.openxmlformats.org/officeDocument/2006/relationships/tags" Target="../tags/tag682.xml"/><Relationship Id="rId57" Type="http://schemas.openxmlformats.org/officeDocument/2006/relationships/tags" Target="../tags/tag703.xml"/><Relationship Id="rId106" Type="http://schemas.openxmlformats.org/officeDocument/2006/relationships/tags" Target="../tags/tag752.xml"/><Relationship Id="rId127" Type="http://schemas.openxmlformats.org/officeDocument/2006/relationships/tags" Target="../tags/tag773.xml"/><Relationship Id="rId10" Type="http://schemas.openxmlformats.org/officeDocument/2006/relationships/tags" Target="../tags/tag656.xml"/><Relationship Id="rId31" Type="http://schemas.openxmlformats.org/officeDocument/2006/relationships/tags" Target="../tags/tag677.xml"/><Relationship Id="rId52" Type="http://schemas.openxmlformats.org/officeDocument/2006/relationships/tags" Target="../tags/tag698.xml"/><Relationship Id="rId73" Type="http://schemas.openxmlformats.org/officeDocument/2006/relationships/tags" Target="../tags/tag719.xml"/><Relationship Id="rId78" Type="http://schemas.openxmlformats.org/officeDocument/2006/relationships/tags" Target="../tags/tag724.xml"/><Relationship Id="rId94" Type="http://schemas.openxmlformats.org/officeDocument/2006/relationships/tags" Target="../tags/tag740.xml"/><Relationship Id="rId99" Type="http://schemas.openxmlformats.org/officeDocument/2006/relationships/tags" Target="../tags/tag745.xml"/><Relationship Id="rId101" Type="http://schemas.openxmlformats.org/officeDocument/2006/relationships/tags" Target="../tags/tag747.xml"/><Relationship Id="rId122" Type="http://schemas.openxmlformats.org/officeDocument/2006/relationships/tags" Target="../tags/tag768.xml"/><Relationship Id="rId4" Type="http://schemas.openxmlformats.org/officeDocument/2006/relationships/tags" Target="../tags/tag650.xml"/><Relationship Id="rId9" Type="http://schemas.openxmlformats.org/officeDocument/2006/relationships/tags" Target="../tags/tag655.xml"/><Relationship Id="rId26" Type="http://schemas.openxmlformats.org/officeDocument/2006/relationships/tags" Target="../tags/tag672.xml"/><Relationship Id="rId47" Type="http://schemas.openxmlformats.org/officeDocument/2006/relationships/tags" Target="../tags/tag693.xml"/><Relationship Id="rId68" Type="http://schemas.openxmlformats.org/officeDocument/2006/relationships/tags" Target="../tags/tag714.xml"/><Relationship Id="rId89" Type="http://schemas.openxmlformats.org/officeDocument/2006/relationships/tags" Target="../tags/tag735.xml"/><Relationship Id="rId112" Type="http://schemas.openxmlformats.org/officeDocument/2006/relationships/tags" Target="../tags/tag758.xml"/><Relationship Id="rId133" Type="http://schemas.openxmlformats.org/officeDocument/2006/relationships/chart" Target="../charts/chart23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799.xml"/><Relationship Id="rId117" Type="http://schemas.openxmlformats.org/officeDocument/2006/relationships/tags" Target="../tags/tag890.xml"/><Relationship Id="rId21" Type="http://schemas.openxmlformats.org/officeDocument/2006/relationships/tags" Target="../tags/tag794.xml"/><Relationship Id="rId42" Type="http://schemas.openxmlformats.org/officeDocument/2006/relationships/tags" Target="../tags/tag815.xml"/><Relationship Id="rId47" Type="http://schemas.openxmlformats.org/officeDocument/2006/relationships/tags" Target="../tags/tag820.xml"/><Relationship Id="rId63" Type="http://schemas.openxmlformats.org/officeDocument/2006/relationships/tags" Target="../tags/tag836.xml"/><Relationship Id="rId68" Type="http://schemas.openxmlformats.org/officeDocument/2006/relationships/tags" Target="../tags/tag841.xml"/><Relationship Id="rId84" Type="http://schemas.openxmlformats.org/officeDocument/2006/relationships/tags" Target="../tags/tag857.xml"/><Relationship Id="rId89" Type="http://schemas.openxmlformats.org/officeDocument/2006/relationships/tags" Target="../tags/tag862.xml"/><Relationship Id="rId112" Type="http://schemas.openxmlformats.org/officeDocument/2006/relationships/tags" Target="../tags/tag885.xml"/><Relationship Id="rId16" Type="http://schemas.openxmlformats.org/officeDocument/2006/relationships/tags" Target="../tags/tag789.xml"/><Relationship Id="rId107" Type="http://schemas.openxmlformats.org/officeDocument/2006/relationships/tags" Target="../tags/tag880.xml"/><Relationship Id="rId11" Type="http://schemas.openxmlformats.org/officeDocument/2006/relationships/tags" Target="../tags/tag784.xml"/><Relationship Id="rId32" Type="http://schemas.openxmlformats.org/officeDocument/2006/relationships/tags" Target="../tags/tag805.xml"/><Relationship Id="rId37" Type="http://schemas.openxmlformats.org/officeDocument/2006/relationships/tags" Target="../tags/tag810.xml"/><Relationship Id="rId53" Type="http://schemas.openxmlformats.org/officeDocument/2006/relationships/tags" Target="../tags/tag826.xml"/><Relationship Id="rId58" Type="http://schemas.openxmlformats.org/officeDocument/2006/relationships/tags" Target="../tags/tag831.xml"/><Relationship Id="rId74" Type="http://schemas.openxmlformats.org/officeDocument/2006/relationships/tags" Target="../tags/tag847.xml"/><Relationship Id="rId79" Type="http://schemas.openxmlformats.org/officeDocument/2006/relationships/tags" Target="../tags/tag852.xml"/><Relationship Id="rId102" Type="http://schemas.openxmlformats.org/officeDocument/2006/relationships/tags" Target="../tags/tag875.xml"/><Relationship Id="rId123" Type="http://schemas.openxmlformats.org/officeDocument/2006/relationships/oleObject" Target="../embeddings/oleObject10.bin"/><Relationship Id="rId128" Type="http://schemas.openxmlformats.org/officeDocument/2006/relationships/chart" Target="../charts/chart29.xml"/><Relationship Id="rId5" Type="http://schemas.openxmlformats.org/officeDocument/2006/relationships/tags" Target="../tags/tag778.xml"/><Relationship Id="rId90" Type="http://schemas.openxmlformats.org/officeDocument/2006/relationships/tags" Target="../tags/tag863.xml"/><Relationship Id="rId95" Type="http://schemas.openxmlformats.org/officeDocument/2006/relationships/tags" Target="../tags/tag868.xml"/><Relationship Id="rId22" Type="http://schemas.openxmlformats.org/officeDocument/2006/relationships/tags" Target="../tags/tag795.xml"/><Relationship Id="rId27" Type="http://schemas.openxmlformats.org/officeDocument/2006/relationships/tags" Target="../tags/tag800.xml"/><Relationship Id="rId43" Type="http://schemas.openxmlformats.org/officeDocument/2006/relationships/tags" Target="../tags/tag816.xml"/><Relationship Id="rId48" Type="http://schemas.openxmlformats.org/officeDocument/2006/relationships/tags" Target="../tags/tag821.xml"/><Relationship Id="rId64" Type="http://schemas.openxmlformats.org/officeDocument/2006/relationships/tags" Target="../tags/tag837.xml"/><Relationship Id="rId69" Type="http://schemas.openxmlformats.org/officeDocument/2006/relationships/tags" Target="../tags/tag842.xml"/><Relationship Id="rId113" Type="http://schemas.openxmlformats.org/officeDocument/2006/relationships/tags" Target="../tags/tag886.xml"/><Relationship Id="rId118" Type="http://schemas.openxmlformats.org/officeDocument/2006/relationships/tags" Target="../tags/tag891.xml"/><Relationship Id="rId80" Type="http://schemas.openxmlformats.org/officeDocument/2006/relationships/tags" Target="../tags/tag853.xml"/><Relationship Id="rId85" Type="http://schemas.openxmlformats.org/officeDocument/2006/relationships/tags" Target="../tags/tag858.xml"/><Relationship Id="rId12" Type="http://schemas.openxmlformats.org/officeDocument/2006/relationships/tags" Target="../tags/tag785.xml"/><Relationship Id="rId17" Type="http://schemas.openxmlformats.org/officeDocument/2006/relationships/tags" Target="../tags/tag790.xml"/><Relationship Id="rId33" Type="http://schemas.openxmlformats.org/officeDocument/2006/relationships/tags" Target="../tags/tag806.xml"/><Relationship Id="rId38" Type="http://schemas.openxmlformats.org/officeDocument/2006/relationships/tags" Target="../tags/tag811.xml"/><Relationship Id="rId59" Type="http://schemas.openxmlformats.org/officeDocument/2006/relationships/tags" Target="../tags/tag832.xml"/><Relationship Id="rId103" Type="http://schemas.openxmlformats.org/officeDocument/2006/relationships/tags" Target="../tags/tag876.xml"/><Relationship Id="rId108" Type="http://schemas.openxmlformats.org/officeDocument/2006/relationships/tags" Target="../tags/tag881.xml"/><Relationship Id="rId124" Type="http://schemas.openxmlformats.org/officeDocument/2006/relationships/image" Target="../media/image9.emf"/><Relationship Id="rId54" Type="http://schemas.openxmlformats.org/officeDocument/2006/relationships/tags" Target="../tags/tag827.xml"/><Relationship Id="rId70" Type="http://schemas.openxmlformats.org/officeDocument/2006/relationships/tags" Target="../tags/tag843.xml"/><Relationship Id="rId75" Type="http://schemas.openxmlformats.org/officeDocument/2006/relationships/tags" Target="../tags/tag848.xml"/><Relationship Id="rId91" Type="http://schemas.openxmlformats.org/officeDocument/2006/relationships/tags" Target="../tags/tag864.xml"/><Relationship Id="rId96" Type="http://schemas.openxmlformats.org/officeDocument/2006/relationships/tags" Target="../tags/tag869.xml"/><Relationship Id="rId1" Type="http://schemas.openxmlformats.org/officeDocument/2006/relationships/tags" Target="../tags/tag774.xml"/><Relationship Id="rId6" Type="http://schemas.openxmlformats.org/officeDocument/2006/relationships/tags" Target="../tags/tag779.xml"/><Relationship Id="rId23" Type="http://schemas.openxmlformats.org/officeDocument/2006/relationships/tags" Target="../tags/tag796.xml"/><Relationship Id="rId28" Type="http://schemas.openxmlformats.org/officeDocument/2006/relationships/tags" Target="../tags/tag801.xml"/><Relationship Id="rId49" Type="http://schemas.openxmlformats.org/officeDocument/2006/relationships/tags" Target="../tags/tag822.xml"/><Relationship Id="rId114" Type="http://schemas.openxmlformats.org/officeDocument/2006/relationships/tags" Target="../tags/tag887.xml"/><Relationship Id="rId119" Type="http://schemas.openxmlformats.org/officeDocument/2006/relationships/tags" Target="../tags/tag892.xml"/><Relationship Id="rId44" Type="http://schemas.openxmlformats.org/officeDocument/2006/relationships/tags" Target="../tags/tag817.xml"/><Relationship Id="rId60" Type="http://schemas.openxmlformats.org/officeDocument/2006/relationships/tags" Target="../tags/tag833.xml"/><Relationship Id="rId65" Type="http://schemas.openxmlformats.org/officeDocument/2006/relationships/tags" Target="../tags/tag838.xml"/><Relationship Id="rId81" Type="http://schemas.openxmlformats.org/officeDocument/2006/relationships/tags" Target="../tags/tag854.xml"/><Relationship Id="rId86" Type="http://schemas.openxmlformats.org/officeDocument/2006/relationships/tags" Target="../tags/tag859.xml"/><Relationship Id="rId13" Type="http://schemas.openxmlformats.org/officeDocument/2006/relationships/tags" Target="../tags/tag786.xml"/><Relationship Id="rId18" Type="http://schemas.openxmlformats.org/officeDocument/2006/relationships/tags" Target="../tags/tag791.xml"/><Relationship Id="rId39" Type="http://schemas.openxmlformats.org/officeDocument/2006/relationships/tags" Target="../tags/tag812.xml"/><Relationship Id="rId109" Type="http://schemas.openxmlformats.org/officeDocument/2006/relationships/tags" Target="../tags/tag882.xml"/><Relationship Id="rId34" Type="http://schemas.openxmlformats.org/officeDocument/2006/relationships/tags" Target="../tags/tag807.xml"/><Relationship Id="rId50" Type="http://schemas.openxmlformats.org/officeDocument/2006/relationships/tags" Target="../tags/tag823.xml"/><Relationship Id="rId55" Type="http://schemas.openxmlformats.org/officeDocument/2006/relationships/tags" Target="../tags/tag828.xml"/><Relationship Id="rId76" Type="http://schemas.openxmlformats.org/officeDocument/2006/relationships/tags" Target="../tags/tag849.xml"/><Relationship Id="rId97" Type="http://schemas.openxmlformats.org/officeDocument/2006/relationships/tags" Target="../tags/tag870.xml"/><Relationship Id="rId104" Type="http://schemas.openxmlformats.org/officeDocument/2006/relationships/tags" Target="../tags/tag877.xml"/><Relationship Id="rId120" Type="http://schemas.openxmlformats.org/officeDocument/2006/relationships/tags" Target="../tags/tag893.xml"/><Relationship Id="rId125" Type="http://schemas.openxmlformats.org/officeDocument/2006/relationships/chart" Target="../charts/chart26.xml"/><Relationship Id="rId7" Type="http://schemas.openxmlformats.org/officeDocument/2006/relationships/tags" Target="../tags/tag780.xml"/><Relationship Id="rId71" Type="http://schemas.openxmlformats.org/officeDocument/2006/relationships/tags" Target="../tags/tag844.xml"/><Relationship Id="rId92" Type="http://schemas.openxmlformats.org/officeDocument/2006/relationships/tags" Target="../tags/tag865.xml"/><Relationship Id="rId2" Type="http://schemas.openxmlformats.org/officeDocument/2006/relationships/tags" Target="../tags/tag775.xml"/><Relationship Id="rId29" Type="http://schemas.openxmlformats.org/officeDocument/2006/relationships/tags" Target="../tags/tag802.xml"/><Relationship Id="rId24" Type="http://schemas.openxmlformats.org/officeDocument/2006/relationships/tags" Target="../tags/tag797.xml"/><Relationship Id="rId40" Type="http://schemas.openxmlformats.org/officeDocument/2006/relationships/tags" Target="../tags/tag813.xml"/><Relationship Id="rId45" Type="http://schemas.openxmlformats.org/officeDocument/2006/relationships/tags" Target="../tags/tag818.xml"/><Relationship Id="rId66" Type="http://schemas.openxmlformats.org/officeDocument/2006/relationships/tags" Target="../tags/tag839.xml"/><Relationship Id="rId87" Type="http://schemas.openxmlformats.org/officeDocument/2006/relationships/tags" Target="../tags/tag860.xml"/><Relationship Id="rId110" Type="http://schemas.openxmlformats.org/officeDocument/2006/relationships/tags" Target="../tags/tag883.xml"/><Relationship Id="rId115" Type="http://schemas.openxmlformats.org/officeDocument/2006/relationships/tags" Target="../tags/tag888.xml"/><Relationship Id="rId61" Type="http://schemas.openxmlformats.org/officeDocument/2006/relationships/tags" Target="../tags/tag834.xml"/><Relationship Id="rId82" Type="http://schemas.openxmlformats.org/officeDocument/2006/relationships/tags" Target="../tags/tag855.xml"/><Relationship Id="rId19" Type="http://schemas.openxmlformats.org/officeDocument/2006/relationships/tags" Target="../tags/tag792.xml"/><Relationship Id="rId14" Type="http://schemas.openxmlformats.org/officeDocument/2006/relationships/tags" Target="../tags/tag787.xml"/><Relationship Id="rId30" Type="http://schemas.openxmlformats.org/officeDocument/2006/relationships/tags" Target="../tags/tag803.xml"/><Relationship Id="rId35" Type="http://schemas.openxmlformats.org/officeDocument/2006/relationships/tags" Target="../tags/tag808.xml"/><Relationship Id="rId56" Type="http://schemas.openxmlformats.org/officeDocument/2006/relationships/tags" Target="../tags/tag829.xml"/><Relationship Id="rId77" Type="http://schemas.openxmlformats.org/officeDocument/2006/relationships/tags" Target="../tags/tag850.xml"/><Relationship Id="rId100" Type="http://schemas.openxmlformats.org/officeDocument/2006/relationships/tags" Target="../tags/tag873.xml"/><Relationship Id="rId105" Type="http://schemas.openxmlformats.org/officeDocument/2006/relationships/tags" Target="../tags/tag878.xml"/><Relationship Id="rId126" Type="http://schemas.openxmlformats.org/officeDocument/2006/relationships/chart" Target="../charts/chart27.xml"/><Relationship Id="rId8" Type="http://schemas.openxmlformats.org/officeDocument/2006/relationships/tags" Target="../tags/tag781.xml"/><Relationship Id="rId51" Type="http://schemas.openxmlformats.org/officeDocument/2006/relationships/tags" Target="../tags/tag824.xml"/><Relationship Id="rId72" Type="http://schemas.openxmlformats.org/officeDocument/2006/relationships/tags" Target="../tags/tag845.xml"/><Relationship Id="rId93" Type="http://schemas.openxmlformats.org/officeDocument/2006/relationships/tags" Target="../tags/tag866.xml"/><Relationship Id="rId98" Type="http://schemas.openxmlformats.org/officeDocument/2006/relationships/tags" Target="../tags/tag871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776.xml"/><Relationship Id="rId25" Type="http://schemas.openxmlformats.org/officeDocument/2006/relationships/tags" Target="../tags/tag798.xml"/><Relationship Id="rId46" Type="http://schemas.openxmlformats.org/officeDocument/2006/relationships/tags" Target="../tags/tag819.xml"/><Relationship Id="rId67" Type="http://schemas.openxmlformats.org/officeDocument/2006/relationships/tags" Target="../tags/tag840.xml"/><Relationship Id="rId116" Type="http://schemas.openxmlformats.org/officeDocument/2006/relationships/tags" Target="../tags/tag889.xml"/><Relationship Id="rId20" Type="http://schemas.openxmlformats.org/officeDocument/2006/relationships/tags" Target="../tags/tag793.xml"/><Relationship Id="rId41" Type="http://schemas.openxmlformats.org/officeDocument/2006/relationships/tags" Target="../tags/tag814.xml"/><Relationship Id="rId62" Type="http://schemas.openxmlformats.org/officeDocument/2006/relationships/tags" Target="../tags/tag835.xml"/><Relationship Id="rId83" Type="http://schemas.openxmlformats.org/officeDocument/2006/relationships/tags" Target="../tags/tag856.xml"/><Relationship Id="rId88" Type="http://schemas.openxmlformats.org/officeDocument/2006/relationships/tags" Target="../tags/tag861.xml"/><Relationship Id="rId111" Type="http://schemas.openxmlformats.org/officeDocument/2006/relationships/tags" Target="../tags/tag884.xml"/><Relationship Id="rId15" Type="http://schemas.openxmlformats.org/officeDocument/2006/relationships/tags" Target="../tags/tag788.xml"/><Relationship Id="rId36" Type="http://schemas.openxmlformats.org/officeDocument/2006/relationships/tags" Target="../tags/tag809.xml"/><Relationship Id="rId57" Type="http://schemas.openxmlformats.org/officeDocument/2006/relationships/tags" Target="../tags/tag830.xml"/><Relationship Id="rId106" Type="http://schemas.openxmlformats.org/officeDocument/2006/relationships/tags" Target="../tags/tag879.xml"/><Relationship Id="rId127" Type="http://schemas.openxmlformats.org/officeDocument/2006/relationships/chart" Target="../charts/chart28.xml"/><Relationship Id="rId10" Type="http://schemas.openxmlformats.org/officeDocument/2006/relationships/tags" Target="../tags/tag783.xml"/><Relationship Id="rId31" Type="http://schemas.openxmlformats.org/officeDocument/2006/relationships/tags" Target="../tags/tag804.xml"/><Relationship Id="rId52" Type="http://schemas.openxmlformats.org/officeDocument/2006/relationships/tags" Target="../tags/tag825.xml"/><Relationship Id="rId73" Type="http://schemas.openxmlformats.org/officeDocument/2006/relationships/tags" Target="../tags/tag846.xml"/><Relationship Id="rId78" Type="http://schemas.openxmlformats.org/officeDocument/2006/relationships/tags" Target="../tags/tag851.xml"/><Relationship Id="rId94" Type="http://schemas.openxmlformats.org/officeDocument/2006/relationships/tags" Target="../tags/tag867.xml"/><Relationship Id="rId99" Type="http://schemas.openxmlformats.org/officeDocument/2006/relationships/tags" Target="../tags/tag872.xml"/><Relationship Id="rId101" Type="http://schemas.openxmlformats.org/officeDocument/2006/relationships/tags" Target="../tags/tag874.xml"/><Relationship Id="rId122" Type="http://schemas.openxmlformats.org/officeDocument/2006/relationships/notesSlide" Target="../notesSlides/notesSlide9.xml"/><Relationship Id="rId4" Type="http://schemas.openxmlformats.org/officeDocument/2006/relationships/tags" Target="../tags/tag777.xml"/><Relationship Id="rId9" Type="http://schemas.openxmlformats.org/officeDocument/2006/relationships/tags" Target="../tags/tag7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325BD9-71BB-4231-A7CA-D3153FE4DDB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433535"/>
              </p:ext>
            </p:extLst>
          </p:nvPr>
        </p:nvGraphicFramePr>
        <p:xfrm>
          <a:off x="6301584" y="2881314"/>
          <a:ext cx="122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01584" y="2881314"/>
                        <a:ext cx="122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7557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3DBFAD-8371-9459-D119-6B7481AA3CF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96029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3" imgW="7772400" imgH="10058400" progId="TCLayout.ActiveDocument.1">
                  <p:embed/>
                </p:oleObj>
              </mc:Choice>
              <mc:Fallback>
                <p:oleObj name="think-cell 幻灯片" r:id="rId14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F85F7F0-ABFF-89CA-2E8A-20F2C54CFF5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075644"/>
              </p:ext>
            </p:extLst>
          </p:nvPr>
        </p:nvGraphicFramePr>
        <p:xfrm>
          <a:off x="514350" y="1096963"/>
          <a:ext cx="2686050" cy="21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5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CC995E0-9076-8780-90AB-40593C20BAF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8963" y="15081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FBAEAA-1F2A-4EDF-9B79-27EA1D66A0A9}" type="datetime'''''''''''''''''''''''''3''''''.''''''''6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6EDDB86-0F50-EEC2-9344-00CC14FA1D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254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FB979-5C1F-449E-8214-3728096615DE}" type="datetime'''8''''''''''''7''''''''''''.''8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1ECBA274-8286-8F90-D109-DFA5F9D892F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41350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2E30F1-9905-40F2-ABFB-FD18EA6ADDAC}" type="datetime'3''''''''''''''''''''''''''''''''''.''''0%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D288AE8A-75F5-7E46-79CF-A1678FB80A4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0434949-24F6-96E8-1685-54E7D283071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93813" y="11874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8BA2D1-9FB7-42B8-8055-23EC6648558C}" type="datetime'''''7''''.''''7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811CB37-2DC4-9407-AF70-112A2CD9CA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7463" y="13573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37DE20-3620-4712-AAEB-01531626AF10}" type="datetime'''''''''''''''''4''.''''''''1''''''''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33BEA7-3092-7222-41E9-708A8F3C8F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60475" y="2181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76FA79-DD2D-4B4F-8ADF-9E1D9A30DF12}" type="datetime'''8''''''''''''3''''''.7''''''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.7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30BC7CBD-A18B-E61A-2ABC-24BBB614833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3813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B01F87-46C5-4D83-A446-6D4F6727C853}" type="datetime'''4.''''''''6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574F089-F21F-F8B4-F1D2-EFDA7FF41A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9F5FB0-174F-1FD2-E816-07A2C89CB6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35188" y="13049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0F67A6-8FA1-4088-B83E-F2C95EDF4E81}" type="datetime'''''''''''9''''''''''.''''''''''''''6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CDA4C8A-C1BD-0863-90B8-3F8FF30B938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8838" y="15001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C00B9D-FFEF-4854-8EF7-58682A86F00C}" type="datetime'''''''''''''''4''.''7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751F2D6-EB0B-38B7-42C7-7C9B38D8A09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41350" y="1339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0B4AB-B449-4249-B5C5-F331AA5EEBF5}" type="datetime'''''5''''''''''''''.''6''''''''''''''''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5BCAA91-58A7-BD8D-22BB-310486ACDA6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51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41445-32EC-42AC-852A-F85FC2F2666C}" type="datetime'''''''''''''''''''''''''''''5''.''''9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F76B7D6A-05FF-F813-571B-E44F172355C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8805AE9-4505-EBBF-B8FB-8843B87449B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3213" y="1919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7820BD-8BE6-42E1-BE7B-6340CA28FB96}" type="datetime'''''''''''''''''''''''''''''''''''8.''2%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C80E153-6A82-08C6-B185-711661B8414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86063" y="20447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BD4955-CAF7-4CA1-A143-5BD30AD82AB6}" type="datetime'''3''''''''''''''''''''.''''''''''''''''''''''4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E743A02-0DEC-CCE1-8B29-D392044E9A0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20975" y="2547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CDE603-3215-4C08-B88A-C0F232253840}" type="datetime'''''''8''''1.''8''''''''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8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F5EC898D-1067-2DF7-4694-BE9BA4914C3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6063" y="30702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F7016-9AEF-4054-9C32-F4A40AC388A0}" type="datetime'''''''''''''6''.''''''''''''''''5''''''''''''''''''''%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E7D24209-D768-0588-FAFC-A0C2B841D0B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782063BF-AB53-BA94-ED9F-86706A0F8B6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46075" y="11430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457B3-34D8-446A-9BEC-31BACE2DAF3D}" type="datetime'''18''''''''''''''''''''5''''''''''''''''1''''3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1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D28315A-9845-0A4A-C53A-B3AA6DCE7B6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C0DF8-1444-4163-ACCC-4260EF8292BC}" type="datetime'''''''''''''''''''''''''''''''''''''2''''0''3''''1''1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11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CEA50EF-A0EE-AEAC-FB2F-EB34FFB4EE6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27238" y="10683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51D9C-2346-4FD0-AA4A-FD2EE8ADDDBB}" type="datetime'''''''''''''''''''''''''''1''''''9''''''''''''2''''''65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65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F1CAE620-7489-63E9-90F1-2B487A3EC8B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4800" y="16827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7202BF-7A9F-4E82-A50E-5435E0482768}" type="datetime'''''''''''''''''1''2''''''''''''''''0''''2''''''''6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02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F7BB91-A0BD-045F-0801-7881F65A903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01850" y="2241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5A9D0-D07A-4CEF-8BDD-609A2BC4D97D}" type="datetime'''''''''''''''''7''9''''''.9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.9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752572B3-1BA7-8AB2-1A66-14891DCB1DB9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83945794"/>
              </p:ext>
            </p:extLst>
          </p:nvPr>
        </p:nvGraphicFramePr>
        <p:xfrm>
          <a:off x="7731125" y="942975"/>
          <a:ext cx="2555875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51" name="直线连接符 150">
            <a:extLst>
              <a:ext uri="{FF2B5EF4-FFF2-40B4-BE49-F238E27FC236}">
                <a16:creationId xmlns:a16="http://schemas.microsoft.com/office/drawing/2014/main" id="{595875A1-A72F-7C9A-066B-D84E0B6C011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H="1">
            <a:off x="7813675" y="2058988"/>
            <a:ext cx="3175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07E9B5-F9A2-76F2-1E02-D192F0DEC06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574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13791B-F821-4339-9EE5-429D7CAB4A69}" type="datetime'''86''''''.''''''''''''''''''2''''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E7609025-5946-6D0F-A1B2-D1532B079A8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6EF9BE-C53F-4199-BE2D-C00244292019}" type="datetime'''''4.7''''''''''''''''''''''''''%''''''''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5FAA3E4A-E592-8063-A10F-E10E20629AF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014796E-BA2E-376F-1C5F-D636E2F18B5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1080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FD12C-D97C-46E6-A098-E4F592BA5CFE}" type="datetime'''9''''''.''''''3''''''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108FCBB-7AAF-7582-7C35-C29E315C2191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3208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3C76F-787A-442E-BBF2-C5BAB88803AF}" type="datetime'''''5''''''''''''''''''''''''''.''''''7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5C4A5F5-5956-CDFE-A9CE-ABC71A1C45A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078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EF6E99-CF8B-4A4D-97FB-EE7A74B1F26C}" type="datetime'''''''''''''7''''''''7.''''''''9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9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DA1F778-F1E8-0130-9B70-DA9F1249D49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591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47F0A2-A769-449C-98A1-8BF4C47D372C}" type="datetime'7''''.''''''''''''1''''''''''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82FE0013-8771-E3EE-EC16-B5BA341E024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E7DF1F1-C554-AE67-20A1-3D773936B94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23825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0CED5-D211-4E74-B4D6-916D97A91B9A}" type="datetime'''''''''''10''''''''''''''''''''''''''''''''.''8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DFFEAEB-B75A-7702-E479-12C1EC793FA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4906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DE84AF-3E08-4585-84F2-F8DAC1691F88}" type="datetime'''''''''3''''''''''''''.''''''''''8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8%</a:t>
            </a:fld>
            <a:endParaRPr lang="zh-CN" alt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6B892DA-3F08-1626-A2E8-FD53C8CAC0E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231313" y="2154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A4DFA-EA83-4500-BA24-57CCA96496F0}" type="datetime'''''''''''7''''''8''''''''''''''.''''1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1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46AD47B-19F1-8950-356C-BBE5CDE8ED0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734300" y="20542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6CE79-3660-4985-A61C-5468877FB2A6}" type="datetime'''4.''6''''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15B126A7-2F24-FBE7-ECE8-E99954B814D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963F28A-5B7B-DF9D-E13E-133D27002A6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008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275634-C039-4B3B-A347-E8C10E0DA025}" type="datetime'''3''''''''''''''''.''''''''''''''''''''''''7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5FCE517-CCB0-A110-C6D2-A71DC61A6D7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1796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9FC088-9713-4D1E-BD1D-EF06EB523BA7}" type="datetime'''''''''''''''''''''''''''''''2''.''''''7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7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72F0358-3C84-7E31-C706-46F71EE6A2E2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964C53-E1FE-4E7C-A85D-20FF148B5010}" type="datetime'''''''''''8''''''''8''''''''''.''''''''''4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4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DEA9935-4AC7-645F-F918-793AAAE6B7E1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051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08AA6-FEAF-4B4E-86E2-9FA8430E94A7}" type="datetime'''''''''''''''5''''''''''''''''''.''''''''''2''''''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F22FFD14-E553-4859-FDBE-5CBF988C17C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A2D327AB-5E9B-B20A-4E6C-79FA17B9F9B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18669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93AFEC-DA1C-450E-AE84-327AA2F89A2A}" type="datetime'''''''''''''''''''3''''''''''8''8''''''9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89</a:t>
            </a:fld>
            <a:endParaRPr kumimoji="1" lang="zh-CN" alt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CAAFC6B-FF0F-ABA0-8737-CD9D3D7CDC5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729538" y="2200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EC7B17-602D-4F98-988B-BDFBC96E6E16}" type="datetime'''''''''''''''''4.5''''''''%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20C4E528-FAD3-7E77-11A2-5D5386FB7D3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DFFA59-0075-4045-8B87-6273FFA197A8}" type="datetime'''''''8''''''4''''''''''29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29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B23914F-40FC-0618-85CA-13EDA7802C1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201150" y="9906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5F026-D646-432F-92DE-DAD8BFECAD56}" type="datetime'''''''''7''''''7''''''''0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FAED6BCA-0D64-5B29-9B31-9F3E0776A27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998075" y="18224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EF5D53-A47A-499A-BA84-7A3457BAEC09}" type="datetime'''''''''''''''''''''43''''''''''''''''''''''2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24</a:t>
            </a:fld>
            <a:endParaRPr kumimoji="1" lang="zh-CN" altLang="en-US" sz="14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6FA1D38-EE04-E548-A3E7-7F958A1C159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9264650" y="29638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4A348C-8090-472F-B559-750C8DB43F27}" type="datetime'''''''''''''''''''''''7''''''''.3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4DDF4C51-AA54-2D77-C7C9-401F3DEA0BCE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075923628"/>
              </p:ext>
            </p:extLst>
          </p:nvPr>
        </p:nvGraphicFramePr>
        <p:xfrm>
          <a:off x="14500225" y="1096963"/>
          <a:ext cx="2847975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155" name="直线连接符 154">
            <a:extLst>
              <a:ext uri="{FF2B5EF4-FFF2-40B4-BE49-F238E27FC236}">
                <a16:creationId xmlns:a16="http://schemas.microsoft.com/office/drawing/2014/main" id="{E57FB3BF-1EFE-FD9B-8A78-13B456A97F1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17160875" y="1743075"/>
            <a:ext cx="58738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82626B54-AA5A-64F8-8536-91127B6B7C5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 flipV="1">
            <a:off x="15476538" y="1362075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2FA08CDB-D253-0D93-84F5-F73F364F2DB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627225" y="30686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05AC6E-5697-45DC-97D5-ED56CBC517A7}" type="datetime'''''''''''''''''3''''''''''''''.''''''''''9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7A7BA2A8-1E4B-73A9-9121-E8168B33F052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4468475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6751E8AB-6683-CC63-3879-1F9636E4AA78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336838" y="1419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9EDB1-59B9-4A62-8D79-EABFC414D447}" type="datetime'1''''8''''''''.''''''''3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AF2FD65-CDFE-92DC-13DB-6ACF293A838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2405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D0E80-99C1-4FA0-88BA-79550E93C5E4}" type="datetime'''''''7''''''''''''''7''''''''''''''''.5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5%</a:t>
            </a:fld>
            <a:endParaRPr lang="zh-CN" altLang="en-US" sz="10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452219E-8DEA-2CB8-AAD9-A5D78798434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317788" y="1674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796465-45E9-407D-A0FF-8DD8F29613B3}" type="datetime'''''''''''''''''''3''''.''9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D5C0AC0-C79C-A12A-5258-CE3D6A7FB3E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5300325" y="2208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D3845B-3F06-43C8-87F4-6046B14B9B39}" type="datetime'''6''''''''''''''''''''''''6''''.''''''''0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0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90C4E0A7-6497-AA93-BB47-E9C9EF1E9BE4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5300325" y="298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57B8F-0C74-4C91-9828-C16785326064}" type="datetime'''''''1''''1''''''''''''''''''''''''''''''''.''8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BF624BE-AC14-FAC1-2470-CE882D81E6B7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536223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D9C9CADE-0AAE-617B-E98E-6E79CC8B0B6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227425" y="16779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873ACF-26A6-477E-9F06-AA316A3F23FA}" type="datetime'''''''3''''''''''''''''''''''''''.9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3B640E3-A1F1-7C26-CD71-0225184591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97263" y="17795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C59697-B808-4974-BFBF-09B01879623D}" type="datetime'''''''''''''''''''''''''''2''.''''''''''5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916DF99-4760-60A7-44CB-16BB78D8D64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546263" y="1638300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FA169F-D35B-4653-8C16-FCF645E38EB9}" type="datetime'''''''1''3''''.''''9''''''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0E57972E-D5CA-A1AE-A325-6F76B00F500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229013" y="30829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1C228E-91EA-429E-84C8-332EA673024E}" type="datetime'''''''''''''''''''''''''''''2''''''''''''''.''''''5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C043978B-EED9-BAA6-39A0-BE429958727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16257588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98677027-08D4-30A2-B5B0-EA75915E27B3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970375" y="18288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9DF115-9025-466F-B4C3-D27D9CC8BCA3}" type="datetime'''''''4.''''''''''''''''''''''''''''''''''''''''1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8C24FFA-D131-3B23-177A-FAB4026F4CF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4627225" y="1736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CB5BD1-49AB-4941-9187-CAD1E78D6FEC}" type="datetime'''4''''''''''''''.''''''''''''''''''''''''''6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99B73C-3189-8371-095A-DD64F2B8609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968788" y="16938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84EB0-055F-4E8A-99C8-B0CB18AEEB95}" type="datetime'''''''''''4''''''''''''''''''''''''.''''''''''''''''1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16EE6919-5B21-B31C-A29E-128D66615C52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6868775" y="24114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ACB2A-29B6-4385-8E66-251F92FBCAAE}" type="datetime'''''8''''''''''''''8''''''''''.''''''''''''''''8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F6112FA-BBFB-D653-C607-AE767A436821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6933863" y="30781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7C50A-F481-4319-8230-511FD5299C43}" type="datetime'''''''''''''''3''.''''''''''''''0''''''''''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933C3E6A-6D43-447E-5892-DEE72FA993B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17151350" y="327025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89" name="Text Placeholder 2">
            <a:extLst>
              <a:ext uri="{FF2B5EF4-FFF2-40B4-BE49-F238E27FC236}">
                <a16:creationId xmlns:a16="http://schemas.microsoft.com/office/drawing/2014/main" id="{BCD012B6-18F9-A4AC-6894-77079B38FF9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4376400" y="1327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EA604-AEE6-4FAE-957A-2E63FF182B5A}" type="datetime'''''1''''''''''''''''7''7''''7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7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CE51B25E-2712-26DA-1D31-CBCB5BB36BA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2A2450-8E71-45EB-B885-58AFF3E35929}" type="datetime'2''''''''''''''''''''''''''''''''1''''''''''7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1</a:t>
            </a:fld>
            <a:endParaRPr kumimoji="1" lang="zh-CN" altLang="en-US" sz="1400" dirty="0"/>
          </a:p>
        </p:txBody>
      </p:sp>
      <p:sp useBgFill="1">
        <p:nvSpPr>
          <p:cNvPr id="91" name="Text Placeholder 2">
            <a:extLst>
              <a:ext uri="{FF2B5EF4-FFF2-40B4-BE49-F238E27FC236}">
                <a16:creationId xmlns:a16="http://schemas.microsoft.com/office/drawing/2014/main" id="{6734CA92-AFE0-65E1-5B07-FB4D9BDF629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6165513" y="144303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BEC3-7D5E-495A-A07B-9F6255DD884A}" type="datetime'''''''''''''''''1''''''''''''''''''6''''''''''5''0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A337A36-2186-E7A6-D356-D2498C073B1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7059275" y="1501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297CB9-11FB-4DC0-BAD0-1F6FE8366413}" type="datetime'''''''''''''''''1''''''''5''''85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5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7CCEDEE-89FA-DF62-49D7-3344055AED9A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6195675" y="2374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1875CE-1B40-43FD-8DD3-71A19BCF40FE}" type="datetime'''''''''''''''9''1''''''''''''.''''''''''''2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2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03A96B1D-5E46-9C68-5A5F-1983A5D5618B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2E9F498A-49DB-08B6-CEDC-566B1E6C7DB8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777680AF-DE2B-EA94-6A1C-FD53E1CE9D5D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6AEAE43E-7E80-167C-00EB-5BCA844484B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2BE24EDE-4CFE-5352-3116-835A49BA8A2C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64FA482-8730-5D1A-FC77-3A3CFB74E8B7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E09921D-9FF1-8DB1-2972-6086124CA36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CA87A573-86CF-071F-FC7B-A7BD037957E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C942766D-06C9-6200-D245-8505DABFA687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A0B4C83-8D94-BB8E-D6D8-44885BC06CC3}"/>
              </a:ext>
            </a:extLst>
          </p:cNvPr>
          <p:cNvGraphicFramePr/>
          <p:nvPr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508736074"/>
              </p:ext>
            </p:extLst>
          </p:nvPr>
        </p:nvGraphicFramePr>
        <p:xfrm>
          <a:off x="514350" y="6534150"/>
          <a:ext cx="8936038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FD435492-073A-2E55-20B8-03C0B1F78322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82359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直线连接符 261">
            <a:extLst>
              <a:ext uri="{FF2B5EF4-FFF2-40B4-BE49-F238E27FC236}">
                <a16:creationId xmlns:a16="http://schemas.microsoft.com/office/drawing/2014/main" id="{CD608F8E-83A9-3E4E-9B6A-5A46EC4543FC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auto">
          <a:xfrm flipV="1">
            <a:off x="6626225" y="81613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直线连接符 301">
            <a:extLst>
              <a:ext uri="{FF2B5EF4-FFF2-40B4-BE49-F238E27FC236}">
                <a16:creationId xmlns:a16="http://schemas.microsoft.com/office/drawing/2014/main" id="{96192321-FD3C-0DDC-8D5C-A1FD7E1DA00D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092200" y="830580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D9A42EFE-9005-3FF2-D738-6672A74CF73B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>
            <a:off x="5530850" y="87582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5BE3F134-2EBA-1028-94F4-76BEF54CA10F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auto">
          <a:xfrm>
            <a:off x="2189163" y="82280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2A70F1E-F2B4-B88C-A97A-2BCBC32DDFA2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2241550" y="81121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08035911-28B4-E33E-3BEF-8F4A28EEFF5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2063750" y="79756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E3535-9C8E-49C7-AF56-DFAA27413BA8}" type="datetime'''''43''''''''''''''''''''''''''.''''9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66D3DE7-5CCE-31E4-9BF2-D2436A06C43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206375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5F2A9F-FD39-4FFB-8180-27C8902001D4}" type="datetime'''''''''''''''''''''''''2''''''9''''''''.''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b="1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E35E65EB-9D16-2BCE-2C40-14B8E4CE3A5B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2063750" y="7754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A7471-B989-4B37-BB23-7EC3FB842B0C}" type="datetime'''''''''''''''''''5''''''''''''''''''''9''''''.''8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8%</a:t>
            </a:fld>
            <a:endParaRPr lang="zh-CN" altLang="en-US" sz="1000" b="1" dirty="0"/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C0662E1B-8435-D7C2-1304-5F484734BFB3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33563" y="81597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08DF5B-0993-4F0D-B1C4-22F74615024D}" type="datetime'''''''''''''''''''''''''''''''''''''''''''''''''39''''.''4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9.4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743D1E60-34D4-C1D9-42F8-207F9107F301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9350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BAFC65B3-A3E3-7052-DDB6-5A39D275ADD3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2032000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D252708B-ABD2-2155-CEE4-12DB074F9C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3159125" y="7927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D4DD44-7F40-4657-A7AE-94F3F5F31913}" type="datetime'''4''''''''7''''''.''''3''''''''''''''''''''''''''%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795AF313-F90D-3DC1-B99D-EF6224F48AA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3127375" y="64277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01A247-0186-452F-A5C6-A9E54121BB07}" type="datetime'''''''''''''''''''1''''''''''''''''''''''''''''54.8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.8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C9CC4E25-CBA7-0AEF-B0DD-182E759329E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3192463" y="8516938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ADFB2-70EC-4C68-9EEE-D8DF84846B50}" type="datetime'''''''''''''''5''''''''''''''''''.''''''''''''''''''''1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%</a:t>
            </a:fld>
            <a:endParaRPr lang="zh-CN" altLang="en-US" sz="1000" b="1" dirty="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37CD6033-F67A-182D-6BDC-45E73A9C36F3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3159125" y="834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C94FBF-EBE5-4690-8CB6-3198BDDDF279}" type="datetime'''3''4''''''.''''''6''%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6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1B9C9CAC-DDC8-D2B0-29AB-3AE49A146E00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3127375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288" name="Text Placeholder 2">
            <a:extLst>
              <a:ext uri="{FF2B5EF4-FFF2-40B4-BE49-F238E27FC236}">
                <a16:creationId xmlns:a16="http://schemas.microsoft.com/office/drawing/2014/main" id="{9EF091A3-3FCA-D144-D749-60CBB70055DA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80168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7DDCC8-7EB7-4C81-866A-E259850A03BE}" type="datetime'''4''''''''0''''.''''''''9''''''''''''''''''''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DCDAF403-661D-0023-6CB2-A2431BAF7EF7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4256088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FF5B78-806D-4B6B-B91E-056D712D7AF4}" type="datetime'''8''''''4''''''''''''.''''''''''''''3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b="1" dirty="0"/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07ACF48C-1951-2DBB-517F-23BAA361983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4256088" y="7675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849D2F-70D6-432E-8936-2D147648EF23}" type="datetime'''''''6''''''''''5''''''.4''''''''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b="1" dirty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34811A8F-AE94-CBBE-6ADE-09E907B69A94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4202113" y="843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F8A5F8-BED1-41C5-BF95-E8C8567F1EB0}" type="datetime'''2''7''''''''''''''.''''''7''''''''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.7%</a:t>
            </a:fld>
            <a:endParaRPr lang="zh-CN" altLang="en-US" sz="1000" b="1" dirty="0"/>
          </a:p>
        </p:txBody>
      </p:sp>
      <p:sp useBgFill="1">
        <p:nvSpPr>
          <p:cNvPr id="281" name="Text Placeholder 2">
            <a:extLst>
              <a:ext uri="{FF2B5EF4-FFF2-40B4-BE49-F238E27FC236}">
                <a16:creationId xmlns:a16="http://schemas.microsoft.com/office/drawing/2014/main" id="{14650A16-D802-3E48-A2DD-FB5D5531EEF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66788" y="8099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53C4CC-7CB3-4631-9E40-40B573493398}" type="datetime'''''''''''''''''''''''''''''''3''''''5''.''0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C390DB54-4750-E224-EFB1-9D8FCA9D075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367338" y="86217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1FBF9-9882-4076-9A2C-82438D46338E}" type="datetime'''''''''-''''''''2.''''''''''''''''''''''''4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56D52D8E-0E18-6CF7-0B1F-FB4A6C63462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912813" y="8394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C5B2F5-5B17-4A2F-8F37-D94EF4C37539}" type="datetime'''''''''''''3''''''1''.''''0''''''''''''''%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b="1" dirty="0"/>
          </a:p>
        </p:txBody>
      </p:sp>
      <p:sp useBgFill="1">
        <p:nvSpPr>
          <p:cNvPr id="246" name="Text Placeholder 2">
            <a:extLst>
              <a:ext uri="{FF2B5EF4-FFF2-40B4-BE49-F238E27FC236}">
                <a16:creationId xmlns:a16="http://schemas.microsoft.com/office/drawing/2014/main" id="{E48142F7-E0E9-1934-F396-59F199D4EB03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584825" y="898366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798CAB-A522-4ADD-8BE5-4E558117EF1E}" type="datetime'''''''''''''-''''''1''''9.7''''''''''''%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9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48777174-A543-E0E7-6196-281986F7A870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5334000" y="9131300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026CD-D8D4-4130-B1DB-FB0EC485A326}" type="datetime'''''''''''-''''''3''''8''.9''''''''''''''''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8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E7B781E-22AF-5BAC-F230-CEC2EA1EB48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429250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3354C39D-3212-34D5-F77B-BC41FCC5EF50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C3642-0650-459F-AF8B-38F3FCC8AD2E}" type="datetime'''''4''5''''''''''''''''''''''.2''''''''''''''''''''''''%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F6B228DD-159E-4D4E-9115-1EE5E054B6F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736600" y="82375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153E8E-CF17-45A2-A589-8BCA3C74C790}" type="datetime'''3''3''.''''''''8''%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b="1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2D9BF77A-1049-CB95-136F-9CC4E5F4730E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16675" y="682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7C44E-8D75-4177-9828-D5337696EBBD}" type="datetime'''1''''2''''''''''''''''''''''''''''6''''''''.''''''5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6.5%</a:t>
            </a:fld>
            <a:endParaRPr lang="zh-CN" altLang="en-US" sz="1000" b="1" dirty="0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850B35AD-B0F1-2FC5-823F-F76EA688B91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gray">
          <a:xfrm>
            <a:off x="6448425" y="78660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2143AB-C470-440F-8271-236B04665737}" type="datetime'''''''''51''''''''''''''''''.''''''7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7%</a:t>
            </a:fld>
            <a:endParaRPr lang="zh-CN" altLang="en-US" sz="10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3D1769F2-648F-06CE-D580-D16E854722DE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6448425" y="84359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43C541-53DD-488A-B973-FCB402D707E9}" type="datetime'''''''''''''2''''8''''''.3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3818C3DB-BCAA-56CB-1CD3-AEB06F8D8902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6524625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1ECB0083-C044-6D47-A655-AF8045A378A9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777163" y="8051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CAF212-F146-4A23-BF09-4F8500F4CD82}" type="datetime'4''''''7.''''''1''''''''''''''''''''%''''''''''''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D557EDF4-70EF-75AC-0DE8-BD59856CE0A6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13638" y="668655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C5C90-5082-43B4-BC9A-6574B9496781}" type="datetime'''''1''''''3''''''''''''6''''''.3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6.3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2D622E70-6E0D-DC09-D626-D59F8DB2A160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707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20056B-E164-4D01-8A96-A61C9F1EF45A}" type="datetime'''''''''6''''3''.''''''''''''''''''''''1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82618974-E59F-6D26-2935-543167AA11E9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gray">
          <a:xfrm>
            <a:off x="7545388" y="8434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6E48EF-2E63-4F55-B961-4859FCA4D8E7}" type="datetime'''2''''''''''8''''''.''''''''''4''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1C624C8-24DF-872C-B991-AA0C72E006C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3630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262D030-3EDC-570A-C7B0-C626D0E588CC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8154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55BDC-286E-4407-AAC5-C5A0541F65B0}" type="datetime'3''1''''''''''''''.''''''''1''''''%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A30C698-84A5-D32C-9DC3-4DE1729D6E1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8372475" y="89582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6DA320-98B8-4850-9768-F39B8204A717}" type="datetime'''''-1''''''''''''''''''''''''''7''''''''''''.''''''9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417C45F4-06D0-AB4F-6ECD-29B8948BBE7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640763" y="7608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43FC8-E8C8-42AA-813A-BA33515B3B6E}" type="datetime'''''''''''''''''7''''0''''''''''''.''''''''''2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2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7032211-1DA3-349F-E1FB-712C177EB2D3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8459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3C71E-494A-4104-A0E3-3062425DFD96}" type="datetime'''''26.''''''6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6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788AAEE-72C0-8691-146C-C687B5C75B89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8609013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93581956-E8A8-DE34-2DCA-0A02A674FD4A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4224338" y="93630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47A24F48-ACC6-9713-B4B9-3BF05B0531C9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167CE2E6-2577-7A82-A7C2-701689D4587F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5BA1C88-264E-C617-3981-34EEABBE990C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6DB21E17-84F7-AFAF-D5D0-FCF26082CD8D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D165197E-249D-CEAE-C468-D8CCD7460A65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27BB91B-F446-F3FA-2575-D0A5AA18E897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AB662BC5-A816-6800-6CE1-E66D6072AE9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A172DBF5-3722-36CF-67A3-9CE897886441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5501B089-BC9B-F9FD-9958-56B8ACA99C01}"/>
              </a:ext>
            </a:extLst>
          </p:cNvPr>
          <p:cNvSpPr txBox="1"/>
          <p:nvPr/>
        </p:nvSpPr>
        <p:spPr>
          <a:xfrm>
            <a:off x="9802020" y="6085962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529125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A6F22-818A-D621-3B60-37671AF7D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D4F246-D9A0-BD9F-F323-FB7CA20F46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663656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5" imgW="7772400" imgH="10058400" progId="TCLayout.ActiveDocument.1">
                  <p:embed/>
                </p:oleObj>
              </mc:Choice>
              <mc:Fallback>
                <p:oleObj name="think-cell 幻灯片" r:id="rId14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3DBFAD-8371-9459-D119-6B7481AA3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0584C40B-8777-E3F0-7254-672F0FAD28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99673"/>
              </p:ext>
            </p:extLst>
          </p:nvPr>
        </p:nvGraphicFramePr>
        <p:xfrm>
          <a:off x="509588" y="1096963"/>
          <a:ext cx="2687637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EB26DD0-A524-6DAF-1AAE-1D42958F513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4200" y="17256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0EE667-07C2-4276-BF20-8C4FEA469E2E}" type="datetime'1''''''''''''''''''''''''0''''''''''''''''.''''''''''''''0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07C49B5-9EEC-767C-84AF-86E3C24FC3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6588" y="2379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E80516-217C-44DA-B2A1-E603BB66B7A9}" type="datetime'''''6''''''''''8.''''''''''''''''''''''1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2FE6FD59-C402-EBA1-8365-CB0B772587F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6588" y="30622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2CBEEE-28B8-43B2-AF22-072F014428FF}" type="datetime'''''''''''''''''''4''''''''''''''''''.1''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3" name="文本占位符 2">
            <a:extLst>
              <a:ext uri="{FF2B5EF4-FFF2-40B4-BE49-F238E27FC236}">
                <a16:creationId xmlns:a16="http://schemas.microsoft.com/office/drawing/2014/main" id="{FB3E90B0-8EF8-F9CC-36C9-B7D812D1779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290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1F3-C2F7-4EC6-9603-2F87903E6212}" type="datetime'F''''Y''''''2''''6''''Q''''''''''''''''''''''''''2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E6265F5-EDC5-88F5-C737-C7E63F8F7C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57300" y="163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7F89A-B34A-4E7B-8FF9-011BB9FF47D9}" type="datetime'''''2''3''''''''.''0''''''''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C428FE6-1341-E6EC-3242-908F9F71E9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84288" y="19542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4C6A03-7DF4-4218-BCD9-29AD498A93ED}" type="datetime'''''''''''''''''''''''''''''''''9.''4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4%</a:t>
            </a:fld>
            <a:endParaRPr lang="zh-CN" altLang="en-US" sz="10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CA525A1-DAC3-75D2-51C4-D418E82ADAB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257300" y="2495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F9586F-8E04-4DC8-8233-9123B8EEDFB0}" type="datetime'''''''6''''''''2''.2%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7BC82C3-07BE-3CFE-0BC9-D6DEE458801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290638" y="30559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212A6-6CB4-4FCD-B38B-8EE4F09C2006}" type="datetime'''''''''''''''''''5''''''''''''''''''.''4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6C73484C-709A-075D-7320-6225D7E209A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8427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22877-E6CE-4235-9D21-5721A984A319}" type="datetime'''''''''F''''''Y2''''''6''Q''''''''3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FD6BFCC-1AFF-82EF-C6AE-1D5F8805A8F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097088" y="13557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505EA9-1961-4D9B-818C-FBC502DA35BB}" type="datetime'''''''''''''2''''''''''''''4''''''.''6''''''%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A904EB5-93AF-DEAE-88D9-BBA40DBCDC4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24075" y="17478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B5E1A8-15FD-4138-8AD2-B751439660A0}" type="datetime'''''''''''''''''''''''''8''.''8''''''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8%</a:t>
            </a:fld>
            <a:endParaRPr lang="zh-CN" altLang="en-US" sz="10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7470350-B6E9-311D-6AAB-1E26B0F7839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36588" y="1379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FFA97C-7910-4830-B46E-76425E28961E}" type="datetime'''1''''''''7''''.''''''7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84D7988-511C-56C7-CB3D-7AA30F79694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30425" y="3049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857EB-F7DB-4329-877E-0112E5F02EA4}" type="datetime'''5''''''.''''''2''''''''''''''''''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E9724C49-A1C2-0AE7-AA66-BBB49A5BD2A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240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4C3D9-A40D-4191-8BB5-A3D20F8F5BD3}" type="datetime'''''''''F''Y''''''''''''2''6Q4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BB035A-FA5F-A120-C180-EBAD9CC9BFA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40038" y="1990725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DB1EC3-8993-4D33-A67C-839A339C0D98}" type="datetime'''''''''1''7''''.''''''7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9B0FCB-1219-F089-35B4-C7AABDD118E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717800" y="2212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8B29B-0BBD-41CE-8216-2A09476A0537}" type="datetime'1''''''''''''''''''''''''1''''.''''''''''''''''''''''0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5A991E0-8271-943E-9859-A48587938C9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717800" y="267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75D4A-689A-4FE5-9D5D-1189C50D20D2}" type="datetime'''6''8.''''''''''''''0%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E190C23B-D466-EBD5-A4C7-9A65C499B25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828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361F09-0EC2-4629-9B2C-A930F67BE143}" type="datetime'''3''.''''''''''''''''''''''''''''''''''3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7F294B77-0020-52C7-FFEE-6B6595B0BB5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798763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91BB80-C331-4BCC-AC04-26BF98B7C418}" type="datetime'''''''''FY''''2''7''''''''''''Q''''1''''''''t''''''''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A47D84CB-CAFA-DE05-2E9A-E87C6D5B9F2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85763" y="10668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18BAA4-B57C-44DE-8539-070E77260B84}" type="datetime'''''7''''''0''''''''''''''''43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43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3322A8D3-3ACB-545F-9E53-B656E60F21B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227138" y="12954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2E2D5-2D1E-4D55-8A23-8389CDA64FBF}" type="datetime'''''''''''''6''1''8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88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3AAB00C-367C-FF6D-4E2A-155CCEC3973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66925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5E6C0-985A-4E05-9AE8-84126ED19335}" type="datetime'''''''''''''''''7''''''''''''''''''''''''4''19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19</a:t>
            </a:fld>
            <a:endParaRPr kumimoji="1" lang="zh-CN" altLang="en-US" sz="1400" dirty="0"/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B6652A45-3132-27D2-BFE6-D3644BEBA2B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41625" y="1700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092575-8567-4FA6-B1D6-ABC3D4DB4724}" type="datetime'''''''''''''''''''''''''4''''''''''3''''''''''''1''6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16</a:t>
            </a:fld>
            <a:endParaRPr kumimoji="1" lang="zh-CN" alt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EAE0DDD-D5BF-EB52-9AAB-8CFC6B1BF73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097088" y="23860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6BB7A-88B6-4B73-81C6-17B8976AAC4E}" type="datetime'''''6''''1''.''''''''''4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4%</a:t>
            </a:fld>
            <a:endParaRPr lang="zh-CN" altLang="en-US" sz="1000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F20D0AF1-C738-3B40-54BE-4BAB7B05F79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8743927"/>
              </p:ext>
            </p:extLst>
          </p:nvPr>
        </p:nvGraphicFramePr>
        <p:xfrm>
          <a:off x="7731125" y="942975"/>
          <a:ext cx="2555875" cy="223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2C87040-EC2B-C7B4-C366-2115680B12B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729538" y="25368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EB2EF0-F0D5-48B1-9D02-369CC3F9ED05}" type="datetime'''9''.''''''''''''9''''''''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9%</a:t>
            </a:fld>
            <a:endParaRPr lang="zh-CN" alt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68EF108-1250-3484-0BC0-53A1F28D5AC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58125" y="2749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56941-FA5D-4C59-B837-5C05BEEDF10E}" type="datetime'''6''''4''''''.''''''''''2''''''''''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57462AB9-FDE0-F1E3-9C9F-55E4697397E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58125" y="30083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E799E-9707-4490-96F4-267CFAB8B144}" type="datetime'''''6''''''''''''.''''''0''''''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FA7F9937-BA2A-AD9A-66E6-532D8D44D02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69302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53362-F902-4663-9F48-B43317A43633}" type="datetime'''''''2''''月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A11C4AC-4B1A-00A0-8B73-1804D33C5E1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448675" y="127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5AB4C-92E8-4012-8FAD-499627F7257A}" type="datetime'2''''''5''''''.''''''''''''''''''''''''2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27D7A8DB-4F8E-B75A-4FA3-E8F61D92544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48675" y="1673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8A6BCD-BFEB-425F-962F-0C173D91AFE0}" type="datetime'''''7''''''.''''''''''9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.9%</a:t>
            </a:fld>
            <a:endParaRPr lang="zh-CN" alt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A90B585-402D-625D-CE11-720143980EE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34388" y="2300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CC085-09D7-4499-BD98-2972A3FF48A7}" type="datetime'''''''''''63''''''''''''''''''''''.''''4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E341ED20-D81D-28A7-75AC-8ED6CA89BBC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7725" y="29940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5974AB-BA67-432D-822E-34446AA4629A}" type="datetime'''''3''''''''''''''''''''''''''''''.5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B10112CB-0D42-8000-9367-F60A73F5A5B9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489950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B07B-4AA0-4CB3-AA54-68EFE864F777}" type="datetime'''''''''''''''3月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16B0616-3979-7CEC-0A5F-74F1E66E673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231313" y="159861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0D3580-A1BD-46CB-936A-66B1A298F315}" type="datetime'''''2''''''''0''''''''''''''''''''''''''.''''''''''''''''1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7E1A45F-637F-AB86-A812-D2DFB27E7085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32900" y="19589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6B723A-00FD-47A3-B277-C79F937253C0}" type="datetime'''''''''''''''''''''''''''1''''''''''''''1''''.0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9D406F8-B060-2C5A-C90A-8A700DFF4D2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734300" y="232568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6C525-73C6-4F0A-B3C0-19859279F71F}" type="datetime'''''1''9.''9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5A603C94-E745-2CFD-5563-8442E956D64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9264650" y="30099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EDE441-9AB5-4777-9D6A-00F9FA97CA68}" type="datetime'''2''''''''.''''''''''''''''''''''6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3" name="文本占位符 2">
            <a:extLst>
              <a:ext uri="{FF2B5EF4-FFF2-40B4-BE49-F238E27FC236}">
                <a16:creationId xmlns:a16="http://schemas.microsoft.com/office/drawing/2014/main" id="{44C98A71-8251-9966-557C-E0DF953D7A5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286875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0F975-10B2-4AAC-9014-1E61891621B9}" type="datetime'4''月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2104EC0-4B50-87F0-5E4A-262CD7294F9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942513" y="2255838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3DC660-8F0E-4338-A21E-3FA7C49047CB}" type="datetime'''1''''''''''''3''''''''''''''''''''''''''''.''''''3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2DE44C1-B7B9-8E11-CCAB-D7824B5B0CF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918700" y="249713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00D831-E8AF-42E2-A69C-F39D67CC13F3}" type="datetime'''''''1''0''.''''''''''''''''''''''''''''''9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9%</a:t>
            </a:fld>
            <a:endParaRPr lang="zh-CN" altLang="en-US" sz="10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2165936-A880-DF80-9CD6-9845DFA8529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7575" y="26876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4CA1FF-E34A-4DA3-B871-7C4CC33CE439}" type="datetime'''''''''7''''''''''1''.''''''3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D4CE8E26-24EC-D934-CFD5-9E10E795EA8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872663" y="30114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C1EC44-B178-4C93-A744-1ABD868F0369}" type="datetime'''4''''''''''.''''''''''''5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0B6CDC20-4976-9101-B123-DA9C6C20A28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955213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985A-8BAB-4E19-9E7A-60C0EC744830}" type="datetime'''5月''''''''''''m''''''''''''''''''''''td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2187AC51-3F87-D6D8-B41A-9803A24AA1F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7616825" y="2085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7A75BC-ADEA-479D-8F66-3FEB7C7E6626}" type="datetime'''''''''''1''''''29''9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99</a:t>
            </a:fld>
            <a:endParaRPr kumimoji="1" lang="zh-CN" altLang="en-US" sz="1400" dirty="0"/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D3DF0B07-A5A9-8F0E-4BF8-40E6B8E48DA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8394700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0681DF-E7EE-4CD8-B49E-25F16F4A94BC}" type="datetime'''''''3''''''''''''''''''''''6''''''''''6''''''''0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6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E9A4C1B0-3DDF-FCA2-8DBF-B0FBE52FDF18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01150" y="12922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9B4573-4124-4F0F-8E23-F2B6BBBDBC28}" type="datetime'''''''''''''''2''''''''''''''''''''81''2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5070E0DD-0484-C524-78B0-C573C2EAC6C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9998075" y="2032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BFCC08-0741-405F-8A07-8E4440F546DD}" type="datetime'''''''''''1''''''''''''''''''''5''''''''''0''''4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4</a:t>
            </a:fld>
            <a:endParaRPr kumimoji="1" lang="zh-CN" alt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78CE40D-F11D-0DEF-0E2A-61B0206731B7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9231313" y="24606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FBD6C1-82EE-4E8F-8666-36E97760754A}" type="datetime'''6''''6''''''''''.''''''''''''''''''2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/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9FDBF02A-23F3-BC23-6855-38A15F84865C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046204899"/>
              </p:ext>
            </p:extLst>
          </p:nvPr>
        </p:nvGraphicFramePr>
        <p:xfrm>
          <a:off x="14390688" y="1096963"/>
          <a:ext cx="2938462" cy="215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BE35C82-E8D9-7A55-D2B9-84C8AEB0F2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14517688" y="16684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802CA3-5346-492A-A57C-F413AA2F601D}" type="datetime'''''''''15''''.''''''''8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8874EA-ECD3-88EF-94C1-3D0771CD166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4517688" y="2444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0DAE30-E714-4375-A0A5-44E312D8A84E}" type="datetime'6''''''''''''''''2''''''''''''.''''''''''''''''3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73B63E0E-B048-D77D-AA40-8A899AD15149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4517688" y="3081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0A32D0-0643-4B67-AB60-D3D00A0B6552}" type="datetime'1''''.''''8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5C7C0A2F-4616-393E-92C0-20752DA7F65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43589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C270F-5F81-4AFF-B219-EE765A1A38F8}" type="datetime'''''''''''''''''''''W''''''''''''''''''''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A021613-FDED-9410-D2DB-F70B7A323690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15257463" y="1595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99B116-592D-417E-AA76-898220C4DAFA}" type="datetime'''''''''''''''''''2''''''''8''.''''''4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F4ECC26-BA49-C1F7-98EA-B849644B912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5238413" y="20097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2B5E7-ACDA-4B11-8854-71590CBA34C3}" type="datetime'''''''''''''1''1''''''.''''5''%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.5%</a:t>
            </a:fld>
            <a:endParaRPr lang="zh-CN" altLang="en-US" sz="10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6E6F26-BD1F-45CB-7E5D-22EEE00B9BBA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5220950" y="2482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93968-99D9-42D9-A404-692EA63E725A}" type="datetime'''5''5''''''.''''''''''3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3%</a:t>
            </a:fld>
            <a:endParaRPr lang="zh-CN" alt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8D01D3C-7928-E66F-935F-91842188EA6A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5254288" y="30527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5736B2-894E-4007-A892-4FD0888AF74A}" type="datetime'''4.''8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7C41ACC1-5866-5F8E-141E-D63DA9B8059C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5282863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43F66-5765-43A8-AD20-C0BF2ADCE597}" type="datetime'''''''''''''''W''''''''''''''''''''''''''3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6F8F48B-4A6E-707D-3236-C823517E843B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6178213" y="16684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F71600-A247-4644-9BBC-2C1166B701FB}" type="datetime'''''''1''''''''''''''3''''''''''.''''''''''6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278C7D8-B50E-AEC3-7910-70FD2D425D9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6148050" y="18732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03ED88-5A46-4B18-A1AA-0D4916AE2D68}" type="datetime'''''''''''5''.''''''''''''''2''''''''''''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BF63D3-EAE8-4BB4-D16C-F5BDC05D521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4436725" y="1363663"/>
            <a:ext cx="352425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1A08F-2C04-4E92-82DB-D0BFFB156B17}" type="datetime'2''''''''''''''''''''''''0''''''''''.1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20ACE0DF-BDF2-9B91-36C3-2F7B520B73DA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179800" y="3063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B540EA-14AA-426E-841B-D5B0E2C5A686}" type="datetime'''4''''''''''''''''''.''''''''''''4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DB7D16CD-F207-38A6-CE3D-04717FF4E54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62083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056DC-0CF7-4251-9EB1-FE20160AFD0B}" type="datetime'''''''''''''''''''''''''''''''W''''''''''''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59CB95A8-0FB3-019A-C020-9A791791AB2F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6849725" y="15081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333A7-B323-4D24-BDB4-6582B3CE40B5}" type="datetime'''''''''''''''''''''''''''1''''''''''''''5.''''''''4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2CA074F-A2CD-EC17-5206-562B2BCA852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949738" y="16764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2D6C5-F0DA-49FF-8310-81FF00AC6FA9}" type="datetime'''9''''''''''''.''''''''2''''''''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.2%</a:t>
            </a:fld>
            <a:endParaRPr lang="zh-CN" altLang="en-US" sz="10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BAAE74D8-1066-7899-A8F7-8821A36D422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849725" y="2424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D4771-5C9F-40FF-9F0B-FEE94B6B5C24}" type="datetime'''''''''''''7''2''.''''5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5%</a:t>
            </a:fld>
            <a:endParaRPr lang="zh-CN" altLang="en-US" sz="10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2264EA73-474A-2ED7-2BB9-9EE1E3EB7AA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914813" y="3074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1737A9-E57C-4669-8802-150D652684C8}" type="datetime'''''''''2''''''.''''''9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8" name="文本占位符 2">
            <a:extLst>
              <a:ext uri="{FF2B5EF4-FFF2-40B4-BE49-F238E27FC236}">
                <a16:creationId xmlns:a16="http://schemas.microsoft.com/office/drawing/2014/main" id="{3E7CF5C8-D107-1066-173B-D631806CF9A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713230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2A724-B954-49C2-898A-05C99E044D0F}" type="datetime'''''''W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D0D367F-F8B6-845B-FFB5-E5F6221B8EF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4312900" y="9652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9C471C-7BD4-4AA1-8CA3-942F432AE7B3}" type="datetime'''''''6''''''9''''''1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1</a:t>
            </a:fld>
            <a:endParaRPr kumimoji="1" lang="zh-CN" altLang="en-US" sz="14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A67E875-C942-9600-FF63-F8EE2528D89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15236825" y="10541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2F15F-FE98-4899-85A9-7627A9BEE947}" type="datetime'''''''''''6''''''''''''''''''''''''6''''''''''0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A83AD8-9D8E-BF5C-FC7F-8EFBA827573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6162338" y="1355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ED3F1-A9FD-4658-93B2-0101EBC66510}" type="datetime'''''''''55''''6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kumimoji="1" lang="zh-CN" alt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D484CEEF-AE7A-EFC4-99C6-ECE11C2A1290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7086263" y="12287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155F5-2790-4536-A728-1A3ABAE3DCCE}" type="datetime'''6''''0''''''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kumimoji="1" lang="zh-CN" alt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06A2F889-09B9-5AEC-4C78-0F5679BCF1C2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6146463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5105AA-DB71-4BF1-8474-6D24C2493B89}" type="datetime'''''''''''''''''7''''''6.''8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8%</a:t>
            </a:fld>
            <a:endParaRPr lang="zh-CN" altLang="en-US" sz="1000" dirty="0"/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27321B58-E193-788D-12AD-D6A8B426C51F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CE918901-2E62-097B-CA67-4D1A1A3AA06F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770313" y="53990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EBAC5A08-BAB6-F9D0-D621-4855ECBB7C76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71438" y="53990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84A58FCD-14E2-9B71-915E-98ED2BFC5B70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2300288" y="53990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B7672763-E15F-3A48-2C16-0D53EC38EEBE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1185863" y="53990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B4F4E0E-890A-7A57-1DC0-5AD81C43E5A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373063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5135B-6F7F-4AAC-9878-78C66F91FD2F}" type="datetime'''新''''''''''''''''''''''''签''年''''''''费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9C824D0-DFED-06AD-9FBE-95A7735159A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1487488" y="54102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097BA-0358-46DE-82E7-AE5D4ED031D9}" type="datetime'''续''''''签''年''''''''''''''''''''''''费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2E7D35B-9440-C104-F38E-D779A013AC5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4071938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239BD8-713E-43B3-8CF6-BC65369A8881}" type="datetime'''品''''''''''''''''''牌''''''''''广''''''告''''''''''''''''''收入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收入</a:t>
            </a:fld>
            <a:endParaRPr kumimoji="1" lang="zh-CN" altLang="en-US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FBDA3C71-2828-FA80-210A-2C0AABB0D2A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2601913" y="541020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3C8A5F-01D0-4003-AAB4-EB98CEA55A30}" type="datetime'''广''''''''''''告现''''''金''''''收''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kumimoji="1" lang="zh-CN" altLang="en-US" sz="1400" dirty="0"/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31EB6107-D6C3-82D0-EDAD-E89D3F6440D0}"/>
              </a:ext>
            </a:extLst>
          </p:cNvPr>
          <p:cNvGraphicFramePr/>
          <p:nvPr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232863852"/>
              </p:ext>
            </p:extLst>
          </p:nvPr>
        </p:nvGraphicFramePr>
        <p:xfrm>
          <a:off x="514350" y="6186488"/>
          <a:ext cx="8936038" cy="301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681A748B-949B-B2CE-CF9D-7ED6E8570954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 bwMode="auto">
          <a:xfrm flipV="1">
            <a:off x="1144588" y="74676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直线连接符 122">
            <a:extLst>
              <a:ext uri="{FF2B5EF4-FFF2-40B4-BE49-F238E27FC236}">
                <a16:creationId xmlns:a16="http://schemas.microsoft.com/office/drawing/2014/main" id="{4EB18FE3-CD22-5FB3-5373-CB2475642484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8818563" y="79835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线连接符 121">
            <a:extLst>
              <a:ext uri="{FF2B5EF4-FFF2-40B4-BE49-F238E27FC236}">
                <a16:creationId xmlns:a16="http://schemas.microsoft.com/office/drawing/2014/main" id="{607EB9B7-0233-DA1C-6781-45BE946C2B1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8818563" y="79914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51DFD90B-AF38-6B9B-09D3-6B35136D7216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auto">
          <a:xfrm>
            <a:off x="1144588" y="739457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直线连接符 116">
            <a:extLst>
              <a:ext uri="{FF2B5EF4-FFF2-40B4-BE49-F238E27FC236}">
                <a16:creationId xmlns:a16="http://schemas.microsoft.com/office/drawing/2014/main" id="{F39998D6-F86E-E038-F7EC-9E879392C8E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 flipV="1">
            <a:off x="7723188" y="77978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8EBEA4F4-FC85-F54E-A45C-45AEFC11E645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auto">
          <a:xfrm>
            <a:off x="7723188" y="77533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线连接符 253">
            <a:extLst>
              <a:ext uri="{FF2B5EF4-FFF2-40B4-BE49-F238E27FC236}">
                <a16:creationId xmlns:a16="http://schemas.microsoft.com/office/drawing/2014/main" id="{E8256052-D2D5-A65C-037E-9FBE99A06C78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auto">
          <a:xfrm flipH="1">
            <a:off x="2255838" y="7712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直线连接符 106">
            <a:extLst>
              <a:ext uri="{FF2B5EF4-FFF2-40B4-BE49-F238E27FC236}">
                <a16:creationId xmlns:a16="http://schemas.microsoft.com/office/drawing/2014/main" id="{1466EA8D-C88C-E683-B35B-AB9CC48F3301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5545138" y="91090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直线连接符 258">
            <a:extLst>
              <a:ext uri="{FF2B5EF4-FFF2-40B4-BE49-F238E27FC236}">
                <a16:creationId xmlns:a16="http://schemas.microsoft.com/office/drawing/2014/main" id="{3A5FF481-E6BC-5745-37BB-19DD16F250B9}"/>
              </a:ext>
            </a:extLst>
          </p:cNvPr>
          <p:cNvCxnSpPr>
            <a:cxnSpLocks/>
          </p:cNvCxnSpPr>
          <p:nvPr>
            <p:custDataLst>
              <p:tags r:id="rId94"/>
            </p:custDataLst>
          </p:nvPr>
        </p:nvCxnSpPr>
        <p:spPr bwMode="auto">
          <a:xfrm>
            <a:off x="5478463" y="9010650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直线连接符 101">
            <a:extLst>
              <a:ext uri="{FF2B5EF4-FFF2-40B4-BE49-F238E27FC236}">
                <a16:creationId xmlns:a16="http://schemas.microsoft.com/office/drawing/2014/main" id="{5E1E0DB6-29CF-A8CA-5588-CD900C8F49D6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4433888" y="791210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直线连接符 99">
            <a:extLst>
              <a:ext uri="{FF2B5EF4-FFF2-40B4-BE49-F238E27FC236}">
                <a16:creationId xmlns:a16="http://schemas.microsoft.com/office/drawing/2014/main" id="{1E5A09B5-EE66-9773-512F-210044A79176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4433888" y="78343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85" name="Text Placeholder 2">
            <a:extLst>
              <a:ext uri="{FF2B5EF4-FFF2-40B4-BE49-F238E27FC236}">
                <a16:creationId xmlns:a16="http://schemas.microsoft.com/office/drawing/2014/main" id="{B226CC0E-8C25-13DE-7E77-C7CCE5E439B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3390900" y="75104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1A3E3E-4896-4CC6-94EE-5DFDF670125C}" type="datetime'5''''''''5''''.''''''''''4%''''''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9A647355-2239-A074-5BF4-17755C36B24D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3159125" y="71405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1B809E-F01D-417F-9DB2-BBC6913649EE}" type="datetime'''6''''''''''''''''9''''.''''''''''''''0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b="1" dirty="0"/>
          </a:p>
        </p:txBody>
      </p:sp>
      <p:sp useBgFill="1">
        <p:nvSpPr>
          <p:cNvPr id="287" name="Text Placeholder 2">
            <a:extLst>
              <a:ext uri="{FF2B5EF4-FFF2-40B4-BE49-F238E27FC236}">
                <a16:creationId xmlns:a16="http://schemas.microsoft.com/office/drawing/2014/main" id="{65FA3E10-334A-0440-848E-9BB6D18103BD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3390900" y="79295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00C89-7D75-4D69-A80A-1CA43DC21DEB}" type="datetime'''3''''''''''''''''2''''''.''''''''''''''''5''''''''''''%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5%</a:t>
            </a:fld>
            <a:endParaRPr lang="zh-CN" altLang="en-US" sz="1000" b="1" dirty="0"/>
          </a:p>
        </p:txBody>
      </p:sp>
      <p:sp useBgFill="1">
        <p:nvSpPr>
          <p:cNvPr id="243" name="Text Placeholder 2">
            <a:extLst>
              <a:ext uri="{FF2B5EF4-FFF2-40B4-BE49-F238E27FC236}">
                <a16:creationId xmlns:a16="http://schemas.microsoft.com/office/drawing/2014/main" id="{B31801C9-D888-A9F7-BD76-E2E00D8D2C11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2928938" y="77549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7B5AD3-2667-4BED-8DC4-326076AECC12}" type="datetime'''''''42''''''''.''1''''''''''''''''''''''''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.1%</a:t>
            </a:fld>
            <a:endParaRPr lang="zh-CN" altLang="en-US" sz="1000" b="1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E4061F3D-6B66-7EB2-0D6C-4B53DA42DB7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3127375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4ACC08-0BC5-442C-B107-C1C07641D5A9}" type="datetime'''''''''''''FY''''''''''2''''6Q''''''''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BCA5EC57-0BAD-190F-9611-98184556226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4256088" y="7697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D008A-5330-46FB-A4AC-4FA175FBD4AA}" type="datetime'''''''''3''''8''''''''''''''''.6''''''%'''''''''''''''''">
              <a:rPr lang="zh-CN" altLang="en-US" sz="1000" b="1">
                <a:solidFill>
                  <a:srgbClr val="000000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solidFill>
                <a:srgbClr val="000000"/>
              </a:solidFill>
              <a:ea typeface="等线" panose="02010600030101010101" pitchFamily="2" charset="-122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E10483D-4802-92EB-0AF9-C1B2CBF3DD3E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2032000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8074E-544D-4F64-99B0-5E63688508FC}" type="datetime'''''F''''''''Y''2''''''6''Q''''''''''''''''''''''''''3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 useBgFill="1">
        <p:nvSpPr>
          <p:cNvPr id="289" name="Text Placeholder 2">
            <a:extLst>
              <a:ext uri="{FF2B5EF4-FFF2-40B4-BE49-F238E27FC236}">
                <a16:creationId xmlns:a16="http://schemas.microsoft.com/office/drawing/2014/main" id="{A4E4AFE0-31A6-DD43-87D6-5BA6AFBDAED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4256088" y="8116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D9AF9E-EF87-49E5-8735-87C0BEDC6AA3}" type="datetime'''''''''''''''''''''''''1''5''.''''''''''''8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DB9A611B-F373-44BC-AD59-E0EABB1CF68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4256088" y="72501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608AE-F7AB-47E8-B3D7-561694B0F155}" type="datetime'6''''''''''''''''''3''''''.''0''''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45" name="Text Placeholder 2">
            <a:extLst>
              <a:ext uri="{FF2B5EF4-FFF2-40B4-BE49-F238E27FC236}">
                <a16:creationId xmlns:a16="http://schemas.microsoft.com/office/drawing/2014/main" id="{710474B7-758C-7C99-529A-D520DD1678F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4256088" y="7951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EA2858-9142-4E49-9197-209C73E6D902}" type="datetime'''3''''8''''''''''''''''''.''''''''''''''''''''''''0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84" name="Text Placeholder 2">
            <a:extLst>
              <a:ext uri="{FF2B5EF4-FFF2-40B4-BE49-F238E27FC236}">
                <a16:creationId xmlns:a16="http://schemas.microsoft.com/office/drawing/2014/main" id="{1086DF73-8D09-C6A1-8A49-23412A2246D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1833563" y="77771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A4044D-6738-4A70-89C7-46C8C01A1783}" type="datetime'''''''''''''''4''''''''0''''''''''''''''.''''8''''''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.8%</a:t>
            </a:fld>
            <a:endParaRPr lang="zh-CN" altLang="en-US" sz="1000" b="1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14CF77E8-9529-BD6E-EDAE-46BA4A3F69E6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42243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1F7B-2EB5-4222-9552-126C36E46084}" type="datetime'''''F''Y2''''''''''''''''''''''''''''''''''7Q1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290" name="Text Placeholder 2">
            <a:extLst>
              <a:ext uri="{FF2B5EF4-FFF2-40B4-BE49-F238E27FC236}">
                <a16:creationId xmlns:a16="http://schemas.microsoft.com/office/drawing/2014/main" id="{11F08603-767D-ABFA-E854-7B4960262640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5084763" y="89423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8AD0E2-3A0E-44BE-8641-776488491199}" type="datetime'''''''''''''''''''''-''''2''2''''''''''''''.''7''''%'''''">
              <a:rPr lang="zh-CN" altLang="en-US" sz="1000" b="1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2.7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83" name="Text Placeholder 2">
            <a:extLst>
              <a:ext uri="{FF2B5EF4-FFF2-40B4-BE49-F238E27FC236}">
                <a16:creationId xmlns:a16="http://schemas.microsoft.com/office/drawing/2014/main" id="{A1C26545-CD29-F12F-506C-D7BEB825D77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2063750" y="7410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DEF3E6-7858-4482-95E5-31DC6D6300F3}" type="datetime'''''5''''''''''''''''''''''''''4''''''''.''''''''3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017BA827-9B1A-155B-B6D9-8D64B9766019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5584825" y="904081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395070-7652-47DE-A938-810D8599B0FC}" type="datetime'''''''''-''''''''2''''''''''''''''8''''.''''''1''%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28.1%</a:t>
            </a:fld>
            <a:endParaRPr lang="zh-CN" altLang="en-US" sz="1000" b="1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D328A746-8294-BC96-5D5E-C6AA5D1C24E3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2063750" y="8066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22972-A6D1-4844-ADA3-3F498FB81D77}" type="datetime'31''''''.''''''''7''''''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7%</a:t>
            </a:fld>
            <a:endParaRPr lang="zh-CN" altLang="en-US" sz="1000" b="1" dirty="0"/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1B915535-0DEF-22CF-FCA8-0FBA356EA31E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5334000" y="8736013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CF1675-FF7D-457D-9AC4-638EF1E929D5}" type="datetime'''''-1''''''''7''''.''''''9''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7.9%</a:t>
            </a:fld>
            <a:endParaRPr lang="zh-CN" altLang="en-US" sz="1000" b="1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44710C74-F764-AB34-0C09-C726FAD5573F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5429250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A3729-CD5D-4518-B062-5361E2A0E861}" type="datetime'''''''''''''''''''''''''''''''''''''''2''''''''''''月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248" name="Text Placeholder 2">
            <a:extLst>
              <a:ext uri="{FF2B5EF4-FFF2-40B4-BE49-F238E27FC236}">
                <a16:creationId xmlns:a16="http://schemas.microsoft.com/office/drawing/2014/main" id="{D352AC33-2576-6ECF-C178-C11CD99F0743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gray">
          <a:xfrm>
            <a:off x="6448425" y="70675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298DC4-98AC-4D3F-8F64-D4222E7A0F4B}" type="datetime'''72''''''''''''''''''''.''''9''%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46BA36EB-AA29-E930-9874-F524D552242D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gray">
          <a:xfrm>
            <a:off x="6448425" y="6675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53EDFE-10EF-490E-8E05-4BF23BF9D935}" type="datetime'''''94''''''.''''''''''''''''3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3%</a:t>
            </a:fld>
            <a:endParaRPr lang="zh-CN" altLang="en-US" sz="1000" b="1" dirty="0"/>
          </a:p>
        </p:txBody>
      </p:sp>
      <p:sp useBgFill="1">
        <p:nvSpPr>
          <p:cNvPr id="293" name="Text Placeholder 2">
            <a:extLst>
              <a:ext uri="{FF2B5EF4-FFF2-40B4-BE49-F238E27FC236}">
                <a16:creationId xmlns:a16="http://schemas.microsoft.com/office/drawing/2014/main" id="{F202FD95-747E-5C44-B75D-07207DE87F0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gray">
          <a:xfrm>
            <a:off x="6448425" y="82010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707751-030A-436C-9FEA-3978B6787494}" type="datetime'''''''''''1''1''''''.''''''''''''''2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b="1" dirty="0"/>
          </a:p>
        </p:txBody>
      </p:sp>
      <p:sp useBgFill="1">
        <p:nvSpPr>
          <p:cNvPr id="294" name="Text Placeholder 2">
            <a:extLst>
              <a:ext uri="{FF2B5EF4-FFF2-40B4-BE49-F238E27FC236}">
                <a16:creationId xmlns:a16="http://schemas.microsoft.com/office/drawing/2014/main" id="{61875482-7247-3565-5F15-DDC279973C34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gray">
          <a:xfrm>
            <a:off x="6448425" y="7408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77ABA-701C-4B61-B59B-308C42C700F6}" type="datetime'''67''.''''''''''6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6%</a:t>
            </a:fld>
            <a:endParaRPr lang="zh-CN" altLang="en-US" sz="1000" b="1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CFA8098F-17A9-E95A-569A-92286C78DC60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6524625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03EA6-5E42-4D51-B099-878D931355DA}" type="datetime'''''''''''''''''''''3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 useBgFill="1">
        <p:nvSpPr>
          <p:cNvPr id="295" name="Text Placeholder 2">
            <a:extLst>
              <a:ext uri="{FF2B5EF4-FFF2-40B4-BE49-F238E27FC236}">
                <a16:creationId xmlns:a16="http://schemas.microsoft.com/office/drawing/2014/main" id="{79835DBD-C14F-39B9-F711-E9B9BFCE4DE5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7545388" y="76168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422DF2-0CCE-4AED-A1FB-AC2271DF813E}" type="datetime'4''''''''''''''3''''''.1''''''%''''''''''''''''''''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241" name="Text Placeholder 2">
            <a:extLst>
              <a:ext uri="{FF2B5EF4-FFF2-40B4-BE49-F238E27FC236}">
                <a16:creationId xmlns:a16="http://schemas.microsoft.com/office/drawing/2014/main" id="{9C6639D0-85F5-8C9C-F7DA-B6CD6B2B9549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gray">
          <a:xfrm>
            <a:off x="2295525" y="7643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6861B7-47FD-415E-AAEC-D15504C96573}" type="datetime'''''''''''''''4''''''''''''8''.''''''''''''''''''''''''''1''%'">
              <a:rPr lang="zh-CN" altLang="en-US" sz="1000" b="1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.1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FAB44E1C-1769-3FC4-7944-C2223D390E48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gray">
          <a:xfrm>
            <a:off x="7545388" y="8255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F7A59-2732-46C6-A4C1-0F21989D3CAF}" type="datetime'''''2''1''''''''''''''''.5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5%</a:t>
            </a:fld>
            <a:endParaRPr lang="zh-CN" altLang="en-US" sz="1000" b="1" dirty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84F6F0A1-9E6D-C8C9-9885-EC732172B733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gray">
          <a:xfrm>
            <a:off x="7545388" y="7027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4DF9E-C52C-46A0-A20E-933BDB9CF5CC}" type="datetime'''''''7''''''''''''''''''''5''''''''''''''''.''''''1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1%</a:t>
            </a:fld>
            <a:endParaRPr lang="zh-CN" altLang="en-US" sz="10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DD779D7F-2BF6-9E80-499E-863B63B6CAA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gray">
          <a:xfrm>
            <a:off x="7545388" y="78374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90E73A-AD6C-40AB-AE87-7FF358EF45E1}" type="datetime'''''''''''''''''4''''4''''''''''''''''''.''2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FB1F4A6-20B0-975F-A6AA-28834EED99F5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935038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C9650-9BFF-4E76-9973-CE3C166C11F0}" type="datetime'''''''''''''''''FY''''''''''2''6Q2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A47CF841-968F-BF9C-AF01-49E23B75380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7621588" y="92043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9F8193-4A97-4E7E-86AD-836BCBA7BC1D}" type="datetime'''''''''''''4''''''''''''''''''''''月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299" name="Text Placeholder 2">
            <a:extLst>
              <a:ext uri="{FF2B5EF4-FFF2-40B4-BE49-F238E27FC236}">
                <a16:creationId xmlns:a16="http://schemas.microsoft.com/office/drawing/2014/main" id="{1DA58D02-2864-6C51-275D-201B03CBCDA7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gray">
          <a:xfrm>
            <a:off x="8640763" y="7854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084146-5A90-4A83-9C99-F296F7D4DEDA}" type="datetime'''''30''''''.''''''''''''''0''''''''''''''''''''''''''''%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4461751-DE97-88EC-EB5C-E061317F45CF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gray">
          <a:xfrm>
            <a:off x="966788" y="725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50DE8-3283-4404-9D80-41ABE63C1952}" type="datetime'''''''''62''''.''''''''6''''''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6%</a:t>
            </a:fld>
            <a:endParaRPr lang="zh-CN" altLang="en-US" sz="1000" b="1" dirty="0"/>
          </a:p>
        </p:txBody>
      </p:sp>
      <p:sp useBgFill="1">
        <p:nvSpPr>
          <p:cNvPr id="249" name="Text Placeholder 2">
            <a:extLst>
              <a:ext uri="{FF2B5EF4-FFF2-40B4-BE49-F238E27FC236}">
                <a16:creationId xmlns:a16="http://schemas.microsoft.com/office/drawing/2014/main" id="{28F959C6-67C1-367E-C24A-E125C58E9CEA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gray">
          <a:xfrm>
            <a:off x="8475663" y="8505825"/>
            <a:ext cx="2905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5076C6-CD8F-4886-A208-BC78B43AE3EE}" type="datetime'1''''''''''.''''''''''''''''1''%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000" b="1" dirty="0"/>
          </a:p>
        </p:txBody>
      </p:sp>
      <p:sp useBgFill="1">
        <p:nvSpPr>
          <p:cNvPr id="300" name="Text Placeholder 2">
            <a:extLst>
              <a:ext uri="{FF2B5EF4-FFF2-40B4-BE49-F238E27FC236}">
                <a16:creationId xmlns:a16="http://schemas.microsoft.com/office/drawing/2014/main" id="{F98F2AC2-072C-D6B8-9F47-64A1BB4851C2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gray">
          <a:xfrm>
            <a:off x="8640763" y="78470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446B3A-9488-4A15-9DAF-1DFAC07F3947}" type="datetime'3''''''''''''''''''''0''''.''''''''''''''5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5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13FA5CAA-A4C0-393C-3B0E-8FBDC7E57D5E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gray">
          <a:xfrm>
            <a:off x="736600" y="8193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3B4D45-78B0-454A-8FB3-26849CB353F1}" type="datetime'1''8.''''1''''''%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.1%</a:t>
            </a:fld>
            <a:endParaRPr lang="zh-CN" altLang="en-US" sz="1000" b="1" dirty="0"/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64CDDE14-80EB-670F-779B-DD5B85E35462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gray">
          <a:xfrm>
            <a:off x="8640763" y="8137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218EE4-FF3C-486B-AA8D-D76B2D0AD142}" type="datetime'''''''''''''''2''7''''''''.''9%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b="1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89A8C02-35B9-CF26-D087-5DC7B50E6FD6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8609013" y="92043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B03B74-28B7-4952-A3C6-44A4F11D78C5}" type="datetime'''''''5''''''''月''''''''''m''''td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7F5B6337-95C7-4B10-1852-7F2EAB117002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gray">
          <a:xfrm>
            <a:off x="966788" y="75072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D2072-6210-45EB-9EC8-FC192024C6A8}" type="datetime'''''''6''''''''''2''''''''''.''''''''''''''''''3%'''''''''">
              <a:rPr lang="zh-CN" altLang="en-US" sz="1000" b="1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solidFill>
                <a:srgbClr val="000000"/>
              </a:solidFill>
            </a:endParaRPr>
          </a:p>
        </p:txBody>
      </p:sp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74EEE4D1-196D-4B73-D8B3-200EB77FF6D6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35972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直线连接符 271">
            <a:extLst>
              <a:ext uri="{FF2B5EF4-FFF2-40B4-BE49-F238E27FC236}">
                <a16:creationId xmlns:a16="http://schemas.microsoft.com/office/drawing/2014/main" id="{2F3BC0B6-9073-3C1D-C867-17323DA752E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657225" y="12038013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线连接符 273">
            <a:extLst>
              <a:ext uri="{FF2B5EF4-FFF2-40B4-BE49-F238E27FC236}">
                <a16:creationId xmlns:a16="http://schemas.microsoft.com/office/drawing/2014/main" id="{F6B2DC97-28EE-71B7-E880-96F4A75D3574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257492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线连接符 272">
            <a:extLst>
              <a:ext uri="{FF2B5EF4-FFF2-40B4-BE49-F238E27FC236}">
                <a16:creationId xmlns:a16="http://schemas.microsoft.com/office/drawing/2014/main" id="{B9B0FED8-33F5-FAD5-1139-FA55AAC898B4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1552575" y="12038013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ABE37836-8F0B-CB2F-5E8A-06FDE7AB29E7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1060450" y="11979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05554A-1471-45EB-A99F-29329B6489FE}" type="datetime'''''''''''''总''''''收''''''''''入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C42EF719-EF13-CC39-B563-232B3A5E77C0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195580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8930CB-F897-481A-983E-E65F979E743E}" type="datetime'''''新''''''签''''''''''''''''''''''''年''''''费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E65939E-6BAB-A8E7-93BE-4793A630E40F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4000500" y="11979275"/>
            <a:ext cx="762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8E2A5-397F-4DB2-A872-AA7CFB5D3325}" type="datetime'''''''''''''广''''''告''''现''''金''''''''''''''''收''''入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广告现金收入</a:t>
            </a:fld>
            <a:endParaRPr lang="zh-CN" altLang="en-US" sz="1000" b="1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18808ED7-F3C7-A4C1-8EEC-1855D5179FF3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2978150" y="11979275"/>
            <a:ext cx="508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49160-C240-418E-B6C3-FC197FFE4948}" type="datetime'''''''续''''''''签年''''''''''''费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B09B616E-B6B1-9D6F-93CA-FF3B2637E9B4}"/>
              </a:ext>
            </a:extLst>
          </p:cNvPr>
          <p:cNvSpPr txBox="1"/>
          <p:nvPr/>
        </p:nvSpPr>
        <p:spPr>
          <a:xfrm>
            <a:off x="9903599" y="6114020"/>
            <a:ext cx="1957844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453307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920E1-E84D-D807-C778-BD42485B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8AD1EA-0925-5B5A-4F78-C50E348732B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67450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AD1EA-0925-5B5A-4F78-C50E34873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ED8F73D-0F47-E5A7-B54C-6C52B9D9A7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342609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AD067A6A-F4A5-969B-8CF5-A372F983871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003A30B-7748-D213-36B0-6D266374118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5D54DD1D-C6DC-B18F-2A4B-4898F9176C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39FD444-3250-571E-D2EB-7A950CF86CF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752133D-CBEC-91AD-B897-A81BE7BED37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7CBD186-B420-BAF0-89C2-5F57EDF9B99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2B71A1EF-2616-C400-B260-B8BCDA8E4D9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5C23823-E854-B47F-2403-00ECC5619C7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650333B-B112-72A3-3297-FBF4A0D2AC1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B635DC9-F137-B5EF-A5B8-D36913F8952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16E922F3-B2E2-AA33-5B78-3C04DB80043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E2EA84C-5278-69B5-DE93-1E918E1B578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DBA15356-E21A-0539-F19B-27450F86C64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417EBD2-1496-1CFB-B30D-1B61F0BB0D2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E6CE95A-03C9-8126-590B-49EDF3D1D5C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C839486F-3E40-18F2-8C1F-A8305F8BDD7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FDC468DC-B9C4-C8A9-2972-921DF468A17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34FFC0C-E58F-7CBA-19F5-E3CA04C0F05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9874D8A-EFB4-5AE5-A95F-393CF5E6D6A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4AF06CED-0B00-CC0F-BF1B-1713D304250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FA5A3D16-3557-F58A-2278-51561361B71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D629D3F1-F33D-2ADC-7FA4-664DC4162AE6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66177313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B71BDE35-F09C-C8B6-C9EC-13F9E98C409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7A0747F1-DF6C-BF1F-58D0-31FAF1BBA25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F1631037-5FCC-4476-6F74-F1D75F77FC4F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ADF42A09-B29C-0BBC-990F-358D031C2227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A8429CAC-5CC3-B8A8-FD1F-BF64C06F40FE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07AD70F-7ECA-C8A1-0603-98A2DD16261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2B60AE0-AC9C-F037-83FC-CA890F98E74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AAF6A2B3-6275-6CDE-6E78-B61BE365F8C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42F4E59D-95D9-E434-2A69-7AAD932B9C1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A8E2882-0D54-8976-6B00-86638CE6F8C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DC36B540-F379-FC60-44F3-3FC0A1965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C28FAEEA-10DF-7964-D724-35B56F94692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C057B764-AD8F-6276-D3E2-BD729228C42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864B302-E481-B47F-811E-A38AE9723DE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594135EF-06FE-5AE9-EA38-C4A69C5426E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7431FB19-1872-6BF7-D993-60497631DC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09134B2F-D975-3145-D6B6-AEDBF0FC69B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D8EA9052-57F7-91C4-8BEB-5E9348BC06E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88AE6FFE-A8D8-2AEA-D90B-A2DD2A4FD089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A5ACA043-9455-2A0F-61F3-4EC95D10CEC3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8B2AD37-FBF0-319F-A22B-D3F2FFA4A63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BA7DD404-5D14-B846-7885-5444DB72E426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51498831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D495B96D-9473-1457-802B-6C46608610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5184CFCF-DB82-16F4-1BC7-FF7C327212D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86BFA5ED-E2AD-B990-904E-178143A1E5D6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E72117CB-9259-3189-BE36-20A0E50269B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56441F81-38CE-1624-B85A-33BD70BF1BD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D0A3D512-8F29-1F91-031A-4A8C17F0DC2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C27210F8-B8C5-2765-D9C7-983DC8E1E98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25EC5A25-2B6B-34A0-3515-FDE32B43D0B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E58B1689-14B9-107F-A530-AD4FA0B0D5B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3BDB3C06-52E7-A5A6-7A10-5303276C32D6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C18469C1-1178-B800-7926-998EA733C8A1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4C019F5-8C9B-A916-395E-60A13815521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46C60522-CCCF-BFAC-8AB1-CFC578C19CF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C4E5C134-793E-1030-322A-F5F23D4899D5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ABECE340-1E64-CC8E-6E22-1971AC438F9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7D894B34-D29B-5160-4C3C-405917A9DCCC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2E2DFC2A-60C8-47ED-3F5B-C9C37DC1C0DE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8E2B7268-73D5-B8E6-1088-74A74BCDB7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39FEBEB9-4B0B-69C2-2343-96419AF57F8D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BDAF1C50-031B-A28E-59D0-3B09127C0628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4C3B1ABA-AE8D-4A48-2189-2A62B802AD28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6423AFFD-4E1E-54E3-0EC1-78DCC962A334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4023817210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5617C24F-9561-75BB-E4E5-7FFDFB736B4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4AF44E72-7E9D-E592-427E-13AAF044703B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0BA32A48-3C5B-0FD7-E541-DA8D09DB0EC8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2695C1C8-8D00-0DE9-A43F-8E2FA2BAFE05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14EA270B-508C-281B-9C77-D8253D77F22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54C081E4-EDD4-0FCA-F183-282DDF073E7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B8703D19-0F34-D973-11F7-C586A50495F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F544A37-B5F8-9F55-B241-580D5B657F50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FCDA3CF2-06A6-D527-6B85-C1518154459A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268FDBAE-3D06-4A3D-7CCE-192758C7303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95220BD0-A48E-248C-C804-CCCED98D7FAC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BDBB5DB6-CAB2-F5D4-4F14-13B931C984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63C9486F-47B7-1695-FA02-CF4354E34177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69FAB058-E79A-25C1-3F45-404A4E0C96FA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FD9083B8-73AC-5AAC-A941-860B44A06FDC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A2ADFE7E-1D8E-DDE7-7789-3CE53DB58F1A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3310F574-9D0F-D210-B528-C00272E9FF3B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774CBB99-FAB5-8B9A-E217-B359B34A6AD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DC09D4E-857D-3F43-5B96-DD2459CCA47B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A97351AF-79FF-CAA1-1FEE-13ACEE92F342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90253168-A209-D78C-85E7-DA06B811CD36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83E0A989-4AE7-F052-566B-0BF0E4DBE900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6C74F27C-894F-A534-B60C-704FCAE85FF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B147333E-ADEF-9139-FD2E-878287003FC9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B30EC6BD-704C-B332-5281-C79DC70A64E8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3DC9B3A7-8DBD-C3A9-4EAB-1AE6291DA994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AA79E64F-A9C0-0CA1-919F-5311E59300FA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C3B83D71-A3C6-98EE-D84A-AB3F5CF9B33E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C61C4626-5ECA-0483-FE21-C864644E40D4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3FB4D367-553E-4A07-B4F6-A88031C462F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63D00D7E-5466-A7C9-94F1-724B15F0633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CE2B249B-54F0-CF06-2CB6-4CE6C405804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BB62038B-3011-D2FD-0214-BB584F765C77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780F30DA-921F-5A45-8549-D4B8D5BE7C9E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27A49A17-4528-6A99-81D9-FB918D33EBC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2762F782-B915-67B4-3CFF-2670FA3E454D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5F61892D-90C0-2DAC-3FB8-1FDDD40336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628347CA-9E50-B4AF-9411-3FED8432346D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64B4D6CA-411D-5818-91E4-4509A73BFAF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F8F2EDF-997C-15AB-EA21-9D4879893DC5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4A813B0D-7A79-F7B6-4395-E75EF6ED32A5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29E84416-13F5-7865-39CE-0F7C1A29A212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5D0BE2D7-85A2-B8DB-658A-4949711CCC2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667F92C-3F6F-4A8B-0195-18151041452A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A50763A5-388E-740D-DF3E-C14C02DAD695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5F6253E3-C328-C459-733B-C9B87ADE556D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CDA22C7-05EE-3D80-25AD-5ECEB446C21E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D30E5B2A-7FC7-05AA-95C5-F4258A28943C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26B02EEF-97DC-9190-0BF6-58544AB51417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2EF02CB5-D6FE-60EA-177B-3118A86FC1EF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2E16962A-BC6D-3FF8-B8B2-0363C3409600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5D986C92-067C-500A-F0B4-87E87A8430F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46165C60-5266-8C43-A289-9A045DA3C966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9D2C52EB-542A-6B7F-3058-0362A8D1A860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47574E4B-2690-656E-E46B-E4232517AA2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6AA68F27-8F3B-F1F7-F182-0CD9F7B9780B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2F72E6AD-3ADA-3EC2-0645-DF6C27C412B1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F45631D0-0478-A7A9-23F6-57D8D3991C5E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9160A1BC-A05B-0617-3A1A-D5D336FCA1AF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12C2D868-9AC9-95DC-04A5-D0E795AC65F5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283D0115-48A3-5C61-4924-DBD6759DE315}"/>
              </a:ext>
            </a:extLst>
          </p:cNvPr>
          <p:cNvSpPr txBox="1"/>
          <p:nvPr/>
        </p:nvSpPr>
        <p:spPr>
          <a:xfrm>
            <a:off x="10313699" y="6160573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结构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286256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07A96A-9808-9DE4-304D-F1BBF75FA52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916405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0" imgW="7772400" imgH="10058400" progId="TCLayout.ActiveDocument.1">
                  <p:embed/>
                </p:oleObj>
              </mc:Choice>
              <mc:Fallback>
                <p:oleObj name="think-cell 幻灯片" r:id="rId5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862CA176-F9D2-566B-5D16-AF20E57CF81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120955"/>
              </p:ext>
            </p:extLst>
          </p:nvPr>
        </p:nvGraphicFramePr>
        <p:xfrm>
          <a:off x="2343150" y="1966913"/>
          <a:ext cx="7205663" cy="4176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154" name="直线连接符 153">
            <a:extLst>
              <a:ext uri="{FF2B5EF4-FFF2-40B4-BE49-F238E27FC236}">
                <a16:creationId xmlns:a16="http://schemas.microsoft.com/office/drawing/2014/main" id="{12B909F1-C9E1-1C91-3A8F-3B3B062DFF3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9504363" y="5637212"/>
            <a:ext cx="79375" cy="127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C17F0F03-BDCF-BE38-6B82-751CF330DF4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9504363" y="5394325"/>
            <a:ext cx="793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F06A1A-42AD-CFB3-5E9C-2934B2CFB9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8098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5D5A9-D219-40C2-9DCC-EC90ED04BA88}" type="datetime'''''''''''F''''''''''''''''''''''''Y''''2''6Q''2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9DB5FD37-0A8D-4505-2551-C7550B9F8E2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389313" y="2397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23760F-1A6F-406E-9F2C-4A15E574B500}" type="datetime'''''''''''''''''''''''''''4''''''''''''''''7''''''''2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2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2A542FE4-9BDD-4910-941E-659E8264EFC6}" type="datetime'''''''''''''''''''''''''''2''''''''''''''''%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FECFE190-4C36-B8E3-FF6A-949F2F7FB98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43275" y="29670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A132-FB36-41D9-92C9-558CACD9633B}" type="datetime'8''''''''''''''''''''''''3''''''''''''''''''''''1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1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F7A6C5A-325E-49C1-856B-E1877D2AF104}" type="datetime'''''''''''''''3''1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5CD19A4E-9CA4-25CD-4058-DE7FB184BF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325813" y="465931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949B4D-434B-4C7B-A30F-F2FDED43AC0A}" type="datetime'1''77''''5''''''''2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5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15E4A585-9D36-4982-98C5-E2A8820BA2CE}" type="datetime'''6''''''''7''''''%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0C9D4FF3-C642-7832-37A3-58CC8CE22EF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5464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C152A5-F8FB-464C-99E7-615D8F20BD14}" type="datetime'''''''F''''''''Y''''''26''Q''''''''3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CC93D4-84F7-D3B6-A495-8791213A552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125913" y="237331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2DB88-7646-4ACA-B457-A56588D0FE3C}" type="datetime'''45''''''9''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38614770-867E-45E1-A51D-8B406F6D635F}" type="datetime'''''''''''''''''''2''''''''''''''''%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A4C40AFE-4A77-BF87-065E-7BD742D6280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79875" y="29956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0E42E-62C3-4265-B2CD-0C7317CE012F}" type="datetime'9''''1''''''''''''''''''''''''''''''''''''''''''0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671376D-EDBC-417B-9A6F-B641BCD34F44}" type="datetime'''''''''3''''''''''''''''''''''''''''''''''''4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7CF83D29-452F-73C9-CA22-2F5E720E158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062413" y="4699000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93ADB-2677-4E3E-A7B3-C835061E3A43}" type="datetime'''''''''''''1''''''''7''1''''''''''4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40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FBDB30D-29AE-422E-AD39-8B1F742DED5B}" type="datetime'6''''''4%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69324599-F8DC-2983-482F-7D63DF5BCA6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283075" y="6116638"/>
            <a:ext cx="619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C04A7F-FEA9-409E-9B3E-EF2554F642AB}" type="datetime'FY''''''''2''''''''6''''Q''''''4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3143E29-048D-6171-9178-E393335BF9F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860925" y="37623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4BCF6-DEAB-4A51-9366-9BB4ED51DA3F}" type="datetime'''''3''''''''''0''''8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954F1F31-3608-4E67-9E83-3F079D7889B3}" type="datetime'''''2''''''''''''''''''''''''''''''''''''''%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BC3B01E8-7913-8442-21B2-7C0283660F4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814888" y="4279900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77E66F-0659-4079-A4F2-5DAF52C1F01E}" type="datetime'''''''''''''''''''''''''''5''''''0''''''''''''''37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3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0B2C5E2F-49B7-41EB-AED8-0715E6C78175}" type="datetime'''''''''''''3''''''''''''''''''2%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9385AE8E-6F88-4E54-76CA-E2AA0CDCEC1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797425" y="5122863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E7D70-C24F-4FC3-A564-5BBA05B6E53D}" type="datetime'''''''1''''''''0''''''''''5''''''''9''''''''''''1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91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E7FD82E3-BEF6-4315-BBEE-BD5958C6C272}" type="datetime'6''''''''6''''''''''''''''''''''%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36ED6B0-2B76-6224-C966-1D6947D7115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018088" y="6116638"/>
            <a:ext cx="619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CE17A6-AFAB-4012-BDED-D90247F9F23A}" type="datetime'F''Y2''''''7''''''''''''Q''''1''''''t''''''d'">
              <a:rPr kumimoji="1" lang="zh-CN" altLang="en-US" sz="45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E9897592-6BAB-13B9-6ED5-29B93468CBA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610225" y="42640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73ECB7-B639-4509-A6A0-5C77235CC33A}" type="datetime'''''''''1''''''''''''''''''''9''''''''9''''''''''''''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9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7ACBF5FA-6F9C-4A44-9B3A-F86286178C26}" type="datetime'''2''''''%'''">
              <a:rPr kumimoji="1" lang="zh-CN" altLang="en-US" sz="14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1B780CC-22A2-5DEC-4866-B8E4BA773E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570538" y="49482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6BD001-ACC3-451E-9DF7-DC87A32F6FF0}" type="datetime'''''''''''34''''''6''''''''''''''''''''''''''''''''6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4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059F0C6-B95E-43DA-AE3C-379942F400B0}" type="datetime'''3''''''''''''''''3''''''''''''''''''''''''%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3340FA5F-E14A-2CEA-8490-561FCEE59F4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551488" y="53657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6BEEDE-B16F-42FF-9740-700145EB16A3}" type="datetime'''''''6''''''''''''8''''''''''''''''''''5''''''5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5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836AE71-A77D-49FB-8948-3FB3A3F4A9ED}" type="datetime'''''6''''''''''''5''''''''''''''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4114930B-BBC3-C272-619E-F5E6E4CA48F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5754688" y="6116638"/>
            <a:ext cx="61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F0629-687E-470F-B43A-5A5E42603547}" type="datetime'''''''''''''''''''''''''4''''''月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id="{FBA6EDAD-B751-E7B1-8846-16C17347372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367463" y="4652963"/>
            <a:ext cx="376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85B773-E9F6-447B-92E6-D00C8860FB8E}" type="datetime'''''''''1''''0''''''''''''''''''''''''''''''''''''''9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9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18ABC5-BF60-4BFB-9826-0371775A1F76}" type="datetime'''''''''''''''''''2''''''''''''''%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4DD91172-272F-B0C4-EB6B-F0A4A3DBE74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288088" y="5224463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36CD51-1AFA-4FCF-A347-B7D6A056F1C1}" type="datetime'''''''1''''''''''''''''5''''''''''''''''''7''''''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1</a:t>
            </a:fld>
            <a:br>
              <a:rPr kumimoji="1" lang="zh-CN" altLang="en-US" sz="1400"/>
            </a:br>
            <a:r>
              <a:rPr kumimoji="1" lang="en-US" altLang="zh-CN" sz="1400"/>
              <a:t>(</a:t>
            </a:r>
            <a:fld id="{18D5B27C-DBC8-4D56-AB7C-D7A6F4C5ABF4}" type="datetime'''''''''''''''''''''''''''''''''2''''''''''9''''''''''%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/>
              <a:t>)</a:t>
            </a:r>
            <a:endParaRPr kumimoji="1" lang="zh-CN" alt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B155A68C-E29F-62E0-D48E-6AFFEB3762E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329363" y="5676900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B8182-72F5-4B54-BB63-7F551B105747}" type="datetime'''''''''''3''''''73''''''''''''''''6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3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47505B2A-215B-40E7-8943-CDD8A610EABD}" type="datetime'''''''''''''''''6''''''9''''''''''''''''''''''%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783B3B8C-6AC8-D0A0-EFC4-B8E91E907CB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884488" y="2519363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CBA233-5DB5-491A-A284-EFFAED1D9C1B}" type="datetime'4''''''''''''''''''1''6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FC1DD981-1F6A-482D-8292-04DE31514E43}" type="datetime'''''''2''%'''''''''''''''''''''''''''''''''''''">
              <a:rPr kumimoji="1" lang="zh-CN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B10DC4BF-CDD2-C601-9C55-BCA05B0B3C8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070725" y="5526088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07E3E-6007-44E2-8331-26DBAD325941}" type="datetime'''''''''''''''''4''''''''''''''''''8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837213A4-10CB-445E-AF81-5EC6A25AD7E3}" type="datetime'''''''''''''''''''''''''''''2''''''''%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86A5B031-4C68-9232-8F13-AD070C6CC7D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70246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CB51F1-AE9A-42D6-9CDA-18256D088C88}" type="datetime'''''''''''6''''''''''''''''''''''''''''''6''''6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6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F7EF97E5-8B3C-4DA5-BBE3-0C547E0E0CA9}" type="datetime'''3''''0''''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76740F35-9AA0-FC91-A60C-C7366433006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7024688" y="57134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67C90-E07B-4C4C-A0C5-6AD1F572CAAF}" type="datetime'''''''''''1''''''''''''''''5''''''0''''''''''''''7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FA1FAAC-A016-4015-8CDC-AC620B07DE42}" type="datetime'''''''''''6''''''''8''''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543A2D25-101E-0C73-CADB-283452873F0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227888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5CC451-D896-431F-94A3-F53565E7A24C}" type="datetime'''W''''''''''''''4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1B45824F-886B-FA7A-F8E0-978A0FCE2D1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805738" y="5492750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3C5F4-8CFE-4535-B665-F98A56F846C2}" type="datetime'''''''''''5''''''''0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7A97E83-93FD-49E0-984B-7D6ADC4E5574}" type="datetime'''''2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6A8EE188-914A-457F-A989-65E7021DF0B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759700" y="555307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3F3E4-28D9-4F1A-94C3-2FBBFE9E622C}" type="datetime'''''''''''8''''''6''''''2''''''''''''''''''''''''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2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3CDF12AD-0A30-4D0F-BE0C-D889D2BBCEC6}" type="datetime'''''''''3''''''''''''''''''''''''5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4C587DF8-D833-4D56-C613-9D39A70A3B2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759700" y="5710238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7FA23-5D00-4C12-9021-CB774DBE1C43}" type="datetime'''''1''''''''''''''''''''''''''''''''''''55''''''''''''8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A1C52793-B4AB-47A7-B62C-3FC86FCCBACE}" type="datetime'''''63%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7167401-64CD-E4CC-4FA6-E13496F55C4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9629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9E9A14-3C58-452F-A83C-4398C37DCAAE}" type="datetime'''''''''''''''''''''''''''''''''W''''''''3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85CA3CC3-8C1A-4F5F-919D-2EAE21C3AA5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542338" y="544512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39ED2-B13B-48DE-8BB8-08548322F34D}" type="datetime'''''''''''''''''''''''''''''44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DB3D7E92-F2DA-44D4-809D-BF0AEC1C7933}" type="datetime'''''''''''''''''''''''''''2''''''''''%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629E1E1A-092F-2939-668A-21533DD7342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96300" y="5519738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B81EC-9FAE-431E-B8DD-E6A1F2390BF5}" type="datetime'''1''''''''''''0''''9''''''''3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3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8E8ECF1-1BEB-48B7-91FD-D823181B30E5}" type="datetime'3''''''''''''''''''''''''''''''''''''''''''''''''9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2DD4641F-06FC-5665-FB46-1BCFF2FFE54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496300" y="5700713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003FC-0144-4FFA-B56A-CAF1A090D85D}" type="datetime'''''''''''''''''''''''1''''''6''''''9''''''''7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89D67D29-8858-4121-8A03-EC1E3AFC6ECE}" type="datetime'6''''''''''''''''''''0''''''''''''''''''''''''''''''%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1D66EC20-58D9-3B63-08CD-98B76F39C9E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86995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4E3DA6-579F-4DE0-AA7E-3682293FD3D5}" type="datetime'''''''''W''''''''''''''''2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8A968BC6-E9A5-E582-03EE-94AFFA7F44D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045575" y="5527675"/>
            <a:ext cx="376238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684FC9-948E-430C-A80B-39EC846BEBE2}" type="datetime'''''''''''''''''''''''''''''''''''''''''''4''''''''''''''6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br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EADAE10C-FC71-4AB2-A692-546B14297778}" type="datetime'''''''''''''''''''''''2%'''''''''''''''''''''''''''''">
              <a:rPr kumimoji="1" lang="zh-CN" altLang="en-US" sz="14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kumimoji="1" lang="en-US" altLang="zh-CN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23" name="Text Placeholder 2">
            <a:extLst>
              <a:ext uri="{FF2B5EF4-FFF2-40B4-BE49-F238E27FC236}">
                <a16:creationId xmlns:a16="http://schemas.microsoft.com/office/drawing/2014/main" id="{3376C2FA-E8C1-B070-6FDC-FEDD6419F3BE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8955088" y="5572125"/>
            <a:ext cx="466725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3D5C9-8896-4F52-B5D7-B58DA6862277}" type="datetime'''6''''''''4''''''''''''''''''''''''''''4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4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DEA0B62-9CAE-4F77-A693-E59916C374B6}" type="datetime'''''''''2''''''''''''''''9''''''''''''''''''''%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0E7CD9A4-6EF0-3734-19EE-21E341E2833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955088" y="5711825"/>
            <a:ext cx="466725" cy="384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43B86F-3C54-419C-BF98-EF761EA51594}" type="datetime'1''''''''''''''''''''''''5''''''''''''18''''''''''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18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B49DCEBB-3AFF-4339-B8DE-B84C60042633}" type="datetime'''''''''''''''''''''''''''''''''6''''''''9''''''''''''''''%'">
              <a:rPr kumimoji="1" lang="zh-CN" altLang="en-US" sz="14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E0CAF33B-A6D6-11EC-6CCD-87C25D3D88D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436100" y="6116638"/>
            <a:ext cx="619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CEA597-E199-440E-9F1D-DCB2369F43F4}" type="datetime'''''''''''W''''1''''''''''''''''''''''''''''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86449856-8A40-D144-FE26-21E54A84AEF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609138" y="5299075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ED7B7-8E6E-41D0-8524-C36D5D01A914}" type="datetime'''''''''''电''''''''''''''''销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78C69A48-C03D-F338-DEC2-BB2FB17697A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884488" y="4695825"/>
            <a:ext cx="503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29A1C-80FB-4E45-8280-F771F819FEC4}" type="datetime'''17''''''''1''''''''''''''''''7''''5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175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742AC088-3B3B-4736-BFA3-D3B0AE6C3882}" type="datetime'''''''6''''7''''''%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032FF42-CF99-802E-A8DC-76B30599433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09138" y="55419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4CDF7C-0902-437E-89A1-EB1DDAC35897}" type="datetime'''''''''''''''''''''''渠''''道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27254177-9CC3-7FE7-CCD4-47C2146C743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2884488" y="30638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D260EA-7A9D-457E-B5D8-B02027014412}" type="datetime'''7''''''''9''''''''''''''''''''''77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77</a:t>
            </a:fld>
            <a:br>
              <a:rPr kumimoji="1" lang="zh-CN" altLang="en-US" sz="1400">
                <a:ea typeface="等线" panose="02010600030101010101" pitchFamily="2" charset="-122"/>
              </a:rPr>
            </a:br>
            <a:r>
              <a:rPr kumimoji="1" lang="en-US" altLang="zh-CN" sz="1400">
                <a:ea typeface="等线" panose="02010600030101010101" pitchFamily="2" charset="-122"/>
              </a:rPr>
              <a:t>(</a:t>
            </a:r>
            <a:fld id="{55F6FD88-CA45-46F2-9D6C-6638B9917950}" type="datetime'''''''''''''''3''1''''''''''''''''''''''''%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%</a:t>
            </a:fld>
            <a:r>
              <a:rPr kumimoji="1" lang="en-US" altLang="zh-CN" sz="1400">
                <a:ea typeface="等线" panose="02010600030101010101" pitchFamily="2" charset="-122"/>
              </a:rPr>
              <a:t>)</a:t>
            </a:r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2D04BE7B-EDBA-2E81-5527-4DC1EDB66BC6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9609138" y="57848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C2C59D-273A-4C65-B5C6-86CA971BD1D4}" type="datetime'''''直''''''''营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62157E72-2F64-BC88-86BE-DA456C88E8C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491288" y="6116638"/>
            <a:ext cx="61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5DCCBA-9826-43C3-9252-459C9FE537D6}" type="datetime'''''''5''''''''''''''月''''''''''''m''''''''''''td'''''">
              <a:rPr kumimoji="1" lang="en-GB" altLang="en-US" sz="45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450" dirty="0">
              <a:ea typeface="等线" panose="02010600030101010101" pitchFamily="2" charset="-122"/>
            </a:endParaRPr>
          </a:p>
        </p:txBody>
      </p:sp>
      <p:pic>
        <p:nvPicPr>
          <p:cNvPr id="275" name="图片 274">
            <a:extLst>
              <a:ext uri="{FF2B5EF4-FFF2-40B4-BE49-F238E27FC236}">
                <a16:creationId xmlns:a16="http://schemas.microsoft.com/office/drawing/2014/main" id="{EDCF5D3A-B3ED-ED50-3BE6-A6F4FC54040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74375">
            <a:off x="12822345" y="5798291"/>
            <a:ext cx="1337783" cy="68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92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CA63-0732-49FF-CC5B-349F73C57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E66E73-60E5-4F7C-D79C-83512DAB854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066815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4" imgW="7772400" imgH="10058400" progId="TCLayout.ActiveDocument.1">
                  <p:embed/>
                </p:oleObj>
              </mc:Choice>
              <mc:Fallback>
                <p:oleObj name="think-cell 幻灯片" r:id="rId12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07A96A-9808-9DE4-304D-F1BBF75FA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AD87405C-6148-DF03-E02A-A5AB2D070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80617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低频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D81CEE19-13CE-5CA1-DB9B-A83ED6E486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194709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6C28496B-50D8-03BF-D48C-2A37896F9EF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14338" y="5011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FC2CADBF-FFA3-EBC4-3806-C31D114396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5902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AEE7EBDD-FC25-3C70-AD00-B9AB3180513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722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0008AA-CBEE-5123-84AD-7B2D22FF93E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3E344637-1E40-C237-838F-BF45E91D0CA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4819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645DACF-BE2D-6C70-4FF7-E15E2121611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4994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3B2A741B-3334-04C8-841D-271CAAFE7C7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5878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7245006F-D56F-6F95-2E52-704E5642F6C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F01893BE-E230-5A68-11E0-FDD6F59B32C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6E287802-6F97-BFBD-C95C-5E94D984C4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83235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3ADB70EF-8173-4412-6D39-0D01F988427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038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CE54FD73-4668-B5CB-87DF-ABC902F2896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4867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F3F2E9A9-6F6F-394C-6C1E-9362274192D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46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3382B73A-0253-E860-FE15-168FD2AE517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42BEA0BD-AE65-48F7-CC4E-F2BE923AF74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445125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05B8C89A-F642-9517-3A2D-41B3BBD5928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936875" y="571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2F04603A-9D70-89E8-E994-BAC86B98527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23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2F45E43D-2705-61F9-E41F-FFBF3411DA1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706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CF975FE9-31D4-D108-6EDB-F5CCD043205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B8D948-054E-F494-EE2E-59037DA9E8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21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A266FD-F8AD-B88E-07AD-41CBE457436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3338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CB88BA3-BCAE-D1E3-D2C6-0E8C0E8A6EE5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DF60706-4E88-94CA-2A19-CFDC0B88029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64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925</a:t>
            </a:fld>
            <a:endParaRPr kumimoji="1" lang="zh-CN" alt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FD3DD550-A428-87B4-17DA-0AA8D6FBB6D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2566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F412661-A388-F2A1-13EF-A8A741E7AB1A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86075033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A4CD8922-B7BF-3385-5532-1A8926649A4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633788" y="5780088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07D01D13-20EC-40B0-2816-B84A9203E54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679825" y="6354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E28F6-0830-4ECB-A6FF-BCCE71575ADD}" type="datetime'80''''''.7''''''''''''''''''''''%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55976727-28D9-3204-F7F1-FBB15DACF336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F3388-5B75-4FFF-95B8-CC4391E9189D}" type="datetime'''5''''''''''''''''.''0''''''''''''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036448C9-D633-01C1-EE0A-782BB682AB5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8804F84-D44A-2B47-9260-11623F6583A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81330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279FB-E380-4117-B6DB-B8085B080261}" type="datetime'''''''''1''4''''''''''''''''''''''''''''''''''''.''''1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1008CB5B-3179-70C0-7261-742688EBEF8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1133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FB3D68-BBF3-4F3E-946C-C62C77763750}" type="datetime'6''''''''''''.''4''''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B8D0D441-01B8-D11D-396A-DAE28F5C8FC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5838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6EA33-3EC0-4922-94C4-8D2457AE5D8C}" type="datetime'7''''3''''''''''''''''''''''''''.''''''''5%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63919F68-E376-975A-FB94-84E70ABE8513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19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AA7C9-BD5C-40A4-966C-159C76AD541E}" type="datetime'''''''''''''''6''.''''''''''''0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ED8B8ED6-9784-D1BC-818E-FABE0B3FD5A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C8BB82BD-4346-5E17-54F7-9647C031893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4986338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13B2A2-CC57-4377-8539-E914420EEAA6}" type="datetime'''''''''13''''''''''''.3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B3884C7-0B32-0E15-7497-01DC6FBB669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2832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73B9-305B-420B-ABAA-03C3C26F0C36}" type="datetime'''5''''''''''''''''''''''''''''''.''''7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66B043B5-9BF8-A0BF-6FAA-17A1A8CCDB7A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151438" y="59483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3601CB-E065-40D8-AABE-7DC8A46DCD1E}" type="datetime'''''''''''7''''''''4''''''''.''''''9''''''%''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F56E666-E0BC-CAB4-1F81-05A5034757D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551238" y="581818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4A0696-C7C4-4AD6-BFDC-A0516ECC01FC}" type="datetime'''''''''''8''''''''''''''''''''''''''''''''.''4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ACD8A098-CF08-70D4-130E-872CBD904F72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FF26773-EF27-271B-D686-DEDF83FE02CC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842000" y="582453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FCD74-3476-4F26-BCB3-B34C18C32231}" type="datetime'''''''6''''''.''''''''''''''''0''''''''''''''''''''%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8999B27-214A-F0A5-2BDB-C1191370392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59928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BA56C9-7953-4B5C-BF63-B4CEB65FB74D}" type="datetime'3''''''''''''.6''''''''''''''''''''''%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5D462CC0-FE87-C25B-C201-445D87A94E8A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3134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336FB5-4BE5-40DE-AE66-21FC510CD5D4}" type="datetime'''''''8''''5''''''''''''.''''''''''''''''''''''''''5%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BEFBC97F-4FCB-5EA9-0FDD-38D053351B7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6C3653C0-49BB-729B-129E-7B999B9B9EC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372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DA4AAAAB-56F1-FF26-8A07-47369012F9A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588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A9F12-EC0D-4C21-9DE6-B1A19DDA5957}" type="datetime'''''''''''''''''''5''''''''''''''1''8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8</a:t>
            </a:fld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BB3D4CCC-8D9B-FA45-3FB3-6FA41134496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581400" y="60483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CF432-BB00-4428-84A3-4E8735A36F46}" type="datetime'5.''''''''''''''''8''''''''%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endParaRPr lang="zh-CN" altLang="en-US" sz="10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33483951-02AF-7C14-8FC1-35F1589BE8E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230688" y="44227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7DF9-CCED-461D-968B-9BE5AD04D7CB}" type="datetime'12''''''''''09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9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4C025C59-5B73-8091-03DD-88277AF66028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076825" y="47117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43894-8B82-489E-8D21-C33C647CF060}" type="datetime'''''''''''''''''1''''0''''''''''''''''51''5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15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A18716A0-AFB4-64BB-42DA-45FBAC77E14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967413" y="56483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68C04-F69E-4946-A73C-135B54285D4E}" type="datetime'''5''''''''4''1''''''''''''''''''''''''''''''0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0</a:t>
            </a:fld>
            <a:endParaRPr kumimoji="1" lang="zh-CN" altLang="en-US" sz="1400" dirty="0"/>
          </a:p>
        </p:txBody>
      </p: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528AA85D-67C1-AEBC-F42B-17F970E974C7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184775" y="6727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ACDDB-26A8-4E53-8B86-27B1AFC4ADCF}" type="datetime'''6''''''''''''''.''''''''''''''''''''''''''0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AA799DC8-FA17-990A-4270-6AB5CAC2E060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3098376836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14142F3-D8F1-B5C9-7163-0BA927E0B07E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581775" y="52974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E5200A-E946-4EB9-923F-BF038C360DB8}" type="datetime'''''7.''8''%''''''''''''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8%</a:t>
            </a:fld>
            <a:endParaRPr lang="zh-CN" altLang="en-US" sz="10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069E9E9-AD0F-94F0-AF89-DEE57BBDC9D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581775" y="6043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3345A-A3A2-470A-8F1E-7A36735B4B8A}" type="datetime'''''''''''''''''''''''''''7''3''''''''.''3''''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185D6916-9E09-3D87-C359-A3B1DD21448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581775" y="67500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77253-2E24-4B31-BC18-02C80F12DBC4}" type="datetime'3''''''''''''''''''.''''''3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43BBE557-963E-839D-0127-2C13F8F814FE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33412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9B740FE-9960-F52A-04F6-54939011DEE7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389813" y="5010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54B586-E096-4E28-98AC-03A07A738D59}" type="datetime'''''''2''''''''''''0.''''''''''''''''''''7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77DCCEC7-DD78-D843-E92E-0407B29D0F7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386638" y="51625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68A69B-8B8E-41DA-8A47-05EEDE0C7A05}" type="datetime'''''''''5''''''''''''''''''''''''''''''''''''.6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D0274F3B-E7A8-60AD-E089-B82B21CAE0B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61841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11FC23-17C3-469D-B05E-C301E5A86370}" type="datetime'''''6''''3''''.''''''''''''5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FC5DA03-4E8A-8689-1551-C35126D72BD1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353300" y="66738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0047F4-388C-4804-AC49-A8EF3E708AD9}" type="datetime'1''''''''''0''''''''''''''.2''''''''''''''%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65145705-22DE-D5C3-65D3-B9E8551C8D30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326313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CF92B002-BBB5-FF37-E4A7-C00EE042345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380413" y="5186363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7CA91-22FE-45C4-BB11-80D1946C70A7}" type="datetime'''''''''''''''''''6''''.''3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D917095-0FDF-75A8-6C60-6E53F5B0CF9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393113" y="53562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E49152-59CE-47ED-8EBD-FF128A5BADC5}" type="datetime'''''3''''''''''.''''''''''''''''''''''''''''2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09EF8530-3C1C-1A27-8D59-7FEE43EE220B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581775" y="5081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32DF9-1DC0-4FE2-86FF-021BA40D98A6}" type="datetime'''1''5''''''''''''''.''''''''''''''''6''''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9523C459-40C9-3DB9-647B-DF51B0FF738D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380413" y="6757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6F97-1E84-437F-9389-00F2B6526982}" type="datetime'3''''''''''''''''''''''.''''''''''''''''0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DB9331E8-3FA9-0D6E-270A-D076CEC4E886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320088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79AB3370-7A34-0668-8068-984990137ADA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183688" y="5207000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C67ED8-0918-4452-BBDA-4B1F0E94DB1E}" type="datetime'''7''''''''.''2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EB7D1ED2-253B-8691-6D11-010E2788216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78925" y="539591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770405-57E8-4A32-8963-8F2262F0748C}" type="datetime'''''''5''''''''''''''''''.5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5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C6E7DE8B-D876-EE6F-0408-204F8EC7D34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6863" y="6154738"/>
            <a:ext cx="352425" cy="136525"/>
          </a:xfrm>
          <a:prstGeom prst="rect">
            <a:avLst/>
          </a:prstGeom>
          <a:solidFill>
            <a:srgbClr val="4A76C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EBE7DC-64AC-4C4A-A198-FB6073C719C9}" type="datetime'''''''''''''8''''4.''''''''''''''''''''''''3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17009DB2-3280-53E8-8D71-4901EAEBE0D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83688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3096D9E8-0193-4D98-D3A0-FD4824B4DFE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9312275" y="6945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CBF8A81E-E774-DF5F-E1CD-C2EE7DBB899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6337300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D2220-8926-4EB3-8894-645EEA3C59CE}" type="datetime'''2''''''''''''46''''''''''''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68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B45FC45B-2699-2273-DDDC-3765F3BFE8E8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323138" y="4519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1B2927-F0ED-4F3B-8A60-C421404C3400}" type="datetime'''2''''''8''''''''''''3''1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CD6D7CE1-DEDB-879A-B6AB-6F83EAB0657F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8323263" y="4895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E05A96-85A6-4F9C-B407-226523A03785}" type="datetime'''''2''''''''''''''''''''20''''''''''''''5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5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5F1C986-21B0-5AA1-FAE3-6FAABBA00E8C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9248775" y="48783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1668D-58B7-4468-AB6C-F05689078419}" type="datetime'''''''2''''''''''''''''''''''1''''''''''''85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85</a:t>
            </a:fld>
            <a:endParaRPr kumimoji="1" lang="zh-CN" altLang="en-US" sz="14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31582AE8-DD0E-20B8-9DEB-C5E048C0AFF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402638" y="6130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3009B3-8B55-4002-839D-45AA50768E3B}" type="datetime'''''''''''''''''''''''''''''''8''7.''''5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7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id="{6F16B56C-F3C3-E7B0-9844-B9DFD71C2D50}"/>
              </a:ext>
            </a:extLst>
          </p:cNvPr>
          <p:cNvGraphicFramePr/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494103012"/>
              </p:ext>
            </p:extLst>
          </p:nvPr>
        </p:nvGraphicFramePr>
        <p:xfrm>
          <a:off x="10044113" y="4433888"/>
          <a:ext cx="5975350" cy="250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1E5A460B-1542-CC33-3FA9-42331916D157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 flipH="1">
            <a:off x="15587663" y="581025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直线连接符 828">
            <a:extLst>
              <a:ext uri="{FF2B5EF4-FFF2-40B4-BE49-F238E27FC236}">
                <a16:creationId xmlns:a16="http://schemas.microsoft.com/office/drawing/2014/main" id="{24A5D1F9-C4C2-AD8D-1E7C-5B4659286C3B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V="1">
            <a:off x="14120813" y="57261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BC89FDAB-592F-89FA-CEB2-4C1F5A3251EC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 flipV="1">
            <a:off x="10490200" y="571976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30B193A8-2705-C190-AE9F-8DC8D20917C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0313988" y="57594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8DD23-0A78-448B-AD1F-1F1021C5BA23}" type="datetime'''3''''''''''''7''''''''''''''''''.''''''''''''''1%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414DF20-EF16-1A68-F3F3-4A628DFC7926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20445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599FEF3E-F0AC-CCDD-FBB9-2B29AEA8F0C5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929938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647EC788-2279-1A16-DBBF-C19BC6439236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1996738" y="542925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1C448F-A658-42C2-BB03-FEFC6C969913}" type="datetime'''''''''''4''''''''''''''9.5''''''%'''''''''''''''''''">
              <a:rPr lang="zh-CN" altLang="en-US" sz="10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26D71F32-6455-5690-B676-01AFE9942098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734800" y="4406900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0FC79A-EBAA-4312-AE91-8B090BAFD368}" type="datetime'1''''''''''''''0''''''''''''''''''''''3''.''''2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.2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046DA61A-377F-8BC0-3607-1AAC16A8B5F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766550" y="6129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3D266-E97B-464E-91D5-5341DEE1AB88}" type="datetime'''15''''''''''''''.1''%''''''''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1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ABB74B38-B999-E253-C6BF-FADDD3CCB55D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766550" y="5773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762C8-0FB0-45E8-933D-A11C5CA77BC4}" type="datetime'''''''''''''''''''''''''''''''''''''''''''''3''''6.''''''2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490C3A49-C340-1A72-8295-D73495143A7C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1657013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E6F8851E-C825-794E-DDDF-EBCB25DFF316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2492038" y="5060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39DDF-4B2F-4BA8-A40B-F35C145B2D0B}" type="datetime'''''''''''6''''''''''''''''''4''''''''''.''2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2C336068-BFCC-5BA7-4E72-98368DDF1C0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12382500" y="6913563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6E835EA2-65F7-C79E-1FBF-C6B0B218C45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0313988" y="54419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3E37BB-FDD6-4895-813D-DD4F9769E585}" type="datetime'4''''''''1''.''''''''''''''''''5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866" name="文本占位符 2">
            <a:extLst>
              <a:ext uri="{FF2B5EF4-FFF2-40B4-BE49-F238E27FC236}">
                <a16:creationId xmlns:a16="http://schemas.microsoft.com/office/drawing/2014/main" id="{21770BC6-C4F4-0980-F349-89E6E1FA64B7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3944600" y="52562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69258-B485-4F26-9151-DC41EDA003C2}" type="datetime'''''''''''''5''''''2''.''''''''6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11" name="文本占位符 2">
            <a:extLst>
              <a:ext uri="{FF2B5EF4-FFF2-40B4-BE49-F238E27FC236}">
                <a16:creationId xmlns:a16="http://schemas.microsoft.com/office/drawing/2014/main" id="{32B5E470-242F-5934-709B-609CA77704E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912850" y="4327525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5EE67-3E89-4FB7-8F44-20BEA7308563}" type="datetime'''''''''''''''1''''0''''7''''''''''.''''''''''''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4655D4DD-A0DF-1A3B-F782-8BCE40C03E8B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944600" y="57658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5B462-CD7B-494F-8142-6194050505AE}" type="datetime'''''''''''3''''''''''6''''''.7''''%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2C4175E6-469C-35BE-D142-F354A47A738B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0313988" y="491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3ACE5E-C194-4254-ABC3-7C4D60E630DA}" type="datetime'''''''''73''''''''''''''.''''''''''''0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/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C8058F64-4230-F84A-6E96-7C63E65A9989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3981113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34183C35-4981-C972-1DDB-619FA61CD4E5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4708188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C577AB46-52F3-7FDB-D152-AB747334C3E7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28938" y="57356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BE9CDC-EB23-4CA9-B44B-FD3C19F2FEBD}" type="datetime'''3''''''''''''''0''''''''''''''.9''''''''%''''''''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1B3EFA70-AA13-F7B0-1247-8336548D6E5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0313988" y="5969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B83FD-7D57-489B-AC43-DB62A9221077}" type="datetime'''''''''''2''''''4.''''6''''''''''''''''''''''''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421F72F7-CF2E-6230-B242-DFE58620561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628938" y="6396038"/>
            <a:ext cx="361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1746A-FC90-48E6-83BE-8F29EA0C9128}" type="datetime'''''''''''''''''''''''''''-''8''''''''''''''''''.''''''5''%'''">
              <a:rPr lang="zh-CN" altLang="en-US" sz="11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8.5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745" name="文本占位符 2">
            <a:extLst>
              <a:ext uri="{FF2B5EF4-FFF2-40B4-BE49-F238E27FC236}">
                <a16:creationId xmlns:a16="http://schemas.microsoft.com/office/drawing/2014/main" id="{43A48B09-95B3-3E89-6597-85EE57C02344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378113" y="5280025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CA54F-A5A5-4A60-9B92-1503FF7E98CF}" type="datetime'''5''''''''''0''''''''''''.''''''2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2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A4AC409A-5643-BEFE-D8EA-71AAFAE4E9E6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5378113" y="593248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5A70C1-7E5A-4C40-BF30-B0761A92193A}" type="datetime'''''''''''''''''''''26''''''''''''''''''''''.''''''''9''%'''">
              <a:rPr lang="zh-CN" altLang="en-US" sz="11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7C04A12B-D2AB-D48E-878F-88140334BABA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5287625" y="6913563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F2762C8-3479-8F00-5DD3-78E6D757CD11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3255625" y="6913563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C063342D-891E-615D-2260-DA7C8E9AD6B1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14387513" y="7983538"/>
            <a:ext cx="51435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3B80C3B0-BFF4-9C45-5168-366797AA957F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10345738" y="7983538"/>
            <a:ext cx="514350" cy="0"/>
          </a:xfrm>
          <a:prstGeom prst="line">
            <a:avLst/>
          </a:prstGeom>
          <a:ln w="28575" cap="rnd" cmpd="sng" algn="ctr">
            <a:solidFill>
              <a:srgbClr val="E9163C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8C4ED754-9DED-7631-D807-21B44ED139F6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2980988" y="7983538"/>
            <a:ext cx="5143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3817CBD3-9D38-D239-879B-288C23785AA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11574463" y="7983538"/>
            <a:ext cx="51435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336DC485-2706-0C80-2567-1E6F03C7D4B3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0925175" y="7900988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96D5F810-A42F-F54B-9DF7-FF67F618D67C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2153900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7AC56826-1CD9-739B-1BFD-EFCAFEC1ECB0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4966950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37C266DE-F782-06CD-C263-055B3DDABD89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3560425" y="79009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74BB22D3-2A21-FEB5-B30A-2BF3EB3A4D91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5883275" y="78263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A3056451-2874-F02B-0D93-A13044489724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2540000" y="782637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B468BF32-1735-67AF-ABE9-6B7484482DF2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4768850" y="7826375"/>
            <a:ext cx="250825" cy="187325"/>
          </a:xfrm>
          <a:prstGeom prst="rect">
            <a:avLst/>
          </a:prstGeom>
          <a:solidFill>
            <a:srgbClr val="4975C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EAE3B6A6-1E23-E7DA-76CE-7E2F1C4655E0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3654425" y="782637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5C80DAD4-038F-C836-34BE-A198BDEA488D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2841625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D496FC56-193C-DC81-6724-76EB4D3541D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3956050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7E6D5F0D-6954-BAF7-66FD-AA9A6B31120F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6184900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E72910B2-DAAD-0D70-0A1D-0C7128B85B30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5070475" y="7837488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CF0FDC70-E416-E69E-C8BC-B93CE00B7183}"/>
              </a:ext>
            </a:extLst>
          </p:cNvPr>
          <p:cNvSpPr txBox="1"/>
          <p:nvPr/>
        </p:nvSpPr>
        <p:spPr>
          <a:xfrm>
            <a:off x="3448824" y="3649663"/>
            <a:ext cx="30059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占比及总额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2FA71127-76E4-208B-912C-6519FBC86C77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EBE953DB-2EB2-90D1-8C24-D3ECBFFA5BD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DFECCCF-CBD7-A6EA-AF23-A2ADDEC73A77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E14503C8-78C4-1BB3-A399-016C269146CA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DD19CC65-E3B4-C5DB-E524-970E31FE1614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5B9290C7-5C45-139D-A1B6-FE5DB824F8D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A04E7FF5-93CE-15D2-FB66-56288B5213C2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C5944853-4C45-3E51-4696-3BD49EEC7A1B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EE064345-0DB3-DF98-09A3-4FE18B58D7AB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45768510-85A7-83EA-BBFD-AE8E3448540D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图片 190">
            <a:extLst>
              <a:ext uri="{FF2B5EF4-FFF2-40B4-BE49-F238E27FC236}">
                <a16:creationId xmlns:a16="http://schemas.microsoft.com/office/drawing/2014/main" id="{C3D88F9E-8DC1-767B-E508-F8A2CEEA1259}"/>
              </a:ext>
            </a:extLst>
          </p:cNvPr>
          <p:cNvPicPr>
            <a:picLocks noChangeAspect="1"/>
          </p:cNvPicPr>
          <p:nvPr/>
        </p:nvPicPr>
        <p:blipFill>
          <a:blip r:embed="rId130"/>
          <a:stretch>
            <a:fillRect/>
          </a:stretch>
        </p:blipFill>
        <p:spPr>
          <a:xfrm>
            <a:off x="16416813" y="4809671"/>
            <a:ext cx="5025866" cy="2927804"/>
          </a:xfrm>
          <a:prstGeom prst="rect">
            <a:avLst/>
          </a:prstGeom>
        </p:spPr>
      </p:pic>
      <p:sp>
        <p:nvSpPr>
          <p:cNvPr id="215" name="椭圆 214">
            <a:extLst>
              <a:ext uri="{FF2B5EF4-FFF2-40B4-BE49-F238E27FC236}">
                <a16:creationId xmlns:a16="http://schemas.microsoft.com/office/drawing/2014/main" id="{15E93FDA-3A96-7A4C-5E5C-3EDB9A9F8D96}"/>
              </a:ext>
            </a:extLst>
          </p:cNvPr>
          <p:cNvSpPr/>
          <p:nvPr/>
        </p:nvSpPr>
        <p:spPr>
          <a:xfrm>
            <a:off x="15561861" y="6302091"/>
            <a:ext cx="445168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7" name="椭圆 216">
            <a:extLst>
              <a:ext uri="{FF2B5EF4-FFF2-40B4-BE49-F238E27FC236}">
                <a16:creationId xmlns:a16="http://schemas.microsoft.com/office/drawing/2014/main" id="{39146DAE-143E-1EA7-0E8B-79328E7F7EF4}"/>
              </a:ext>
            </a:extLst>
          </p:cNvPr>
          <p:cNvSpPr/>
          <p:nvPr/>
        </p:nvSpPr>
        <p:spPr>
          <a:xfrm>
            <a:off x="15591431" y="5648325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DF4B20E3-5BEC-F9E2-A3CA-49574CD263EF}"/>
              </a:ext>
            </a:extLst>
          </p:cNvPr>
          <p:cNvSpPr/>
          <p:nvPr/>
        </p:nvSpPr>
        <p:spPr>
          <a:xfrm>
            <a:off x="15361694" y="5911850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65951B3C-6E09-B659-5409-5DA9AFA4BF5E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9224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38450-7355-FD1D-6B21-4090250BD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8C1DD7F-DAA9-1481-F574-F6274776B83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236116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5" imgW="7772400" imgH="10058400" progId="TCLayout.ActiveDocument.1">
                  <p:embed/>
                </p:oleObj>
              </mc:Choice>
              <mc:Fallback>
                <p:oleObj name="think-cell 幻灯片" r:id="rId12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01556BE1-FA3E-856A-8D93-9863E4F632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686722"/>
              </p:ext>
            </p:extLst>
          </p:nvPr>
        </p:nvGraphicFramePr>
        <p:xfrm>
          <a:off x="461963" y="2669266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accent4"/>
                          </a:solidFill>
                        </a:rPr>
                        <a:t>【</a:t>
                      </a:r>
                      <a:r>
                        <a:rPr lang="zh-CN" altLang="en-US" dirty="0">
                          <a:solidFill>
                            <a:schemeClr val="accent4"/>
                          </a:solidFill>
                        </a:rPr>
                        <a:t>教培</a:t>
                      </a:r>
                      <a:r>
                        <a:rPr lang="en-US" altLang="zh-CN" dirty="0">
                          <a:solidFill>
                            <a:schemeClr val="accent4"/>
                          </a:solidFill>
                        </a:rPr>
                        <a:t>】</a:t>
                      </a:r>
                      <a:r>
                        <a:rPr lang="zh-CN" altLang="en-US" dirty="0"/>
                        <a:t>低频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28B315DF-16E9-F8B6-1A3D-2D56889787E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10681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50A9D4AC-BB42-22DA-9322-3B847134B96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25663" y="6045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484D-A829-4413-A3B0-BE2665824183}" type="datetime'''''''''''''''6''''1.''''5''''''%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9725F53F-FD0F-EE80-DBFA-1C0CE69F4FE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6037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7BB03C-F35E-4CFE-8A24-F0CE1FB2EF6E}" type="datetime'6''''''''''''''''''8''''''''''''''''''''.''''1%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52A9D98-D60F-FF4D-B626-1F9F6443F37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659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CC7A2A-0F3D-43A5-8EE4-D36D3D9A58DC}" type="datetime'''4.''''''''1%''''''''''''''''''''''''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3B42B3A-4EA5-A455-B6C1-9308192C87F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951D759E-E51D-2E3A-60F6-547E7DA5CB2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5241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427650-918D-4804-A061-99B0E1FE5F0F}" type="datetime'''''''''2''''3''.''''''''''''''''''''''''0''''''''''%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67DEB63A-B560-E82A-FB32-1BD9E792456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55276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F73AA-131F-4DFD-A52F-3209BD71B62E}" type="datetime'''''''''9''''''''''''''''''.''''''4''''''''''''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4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76A5218D-BA4A-97A7-0194-5A5813F4544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61610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AE32E-165A-4D71-A449-B4762A18B049}" type="datetime'''6''''''''''2.''''''''''''''''''''''''''''''''''2%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07DBD5B9-E5CD-EC77-5784-69CC9D2D06F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95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119634-DC1E-4C34-92C2-6AD2B0AB612E}" type="datetime'''5''''''''''''''''''''''.''''''4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CFB3D044-1DDA-B7CA-5D37-C28EA0946A0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D2365AD3-4EDD-70E5-3EF5-E2A40F1E700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946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70A939-750F-4485-A072-998E05C74501}" type="datetime'''''''''2''''''''''''''''''''''''4''''.''''''''''''6%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4C99A06A-F021-FA2B-0E5F-91CC696D86F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300663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C53702-0929-4BF1-883A-4740A71FA2DF}" type="datetime'8''.''''''''''8''''%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8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ED15518B-DB4E-306B-00DA-358EB2192D6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52514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93F49-3167-40FD-A121-98B0B09382F5}" type="datetime'''''''''''''''1''''''''0''''''''.''''''''0''%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0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307BB38B-C2D5-0FCF-8178-C4A19F0D564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516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97C83-D25D-4988-85AC-7CB3FF84A8B7}" type="datetime'''''''5''''.''''''''2''''''''''''''''''''''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C09A0EC8-1168-1D9C-6783-57528B273C4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2C387BEB-5C6D-1B06-CEE2-D94AA222E0D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51815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808627-E9E8-4117-9AE4-8016B2698AA3}" type="datetime'''''1''''''''''7''.''''''7''''''''''''''''''''''%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E4191BA5-7DF2-FE02-3411-AB88EE4B55C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871788" y="58594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22DA5-8846-48FC-9554-C1C241C20A4D}" type="datetime'''1''''''1''''''''''''.''''''''''''''0''''''''''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E79274AD-3987-6FCE-6624-E94AD3C9B51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346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22EAD7-9403-43B1-811E-7F8DC2F69925}" type="datetime'''''6''''8.''''0''''''''''''''''''''%''''''''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E0D2C3F6-3632-8A86-18AC-6B07597D717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865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72871C-6435-4419-A2CA-560898C6FCC2}" type="datetime'''''''''''''''''3''''.''''''''''''''''''3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98134E13-4C5C-2C2C-617C-DBAA368A35F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69125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61A1F50-2EDD-6CD5-053C-CE5DBCEC99E7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386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5C2524-0294-48E2-8366-AFDBF751DC49}" type="datetime'''''''''''''7''''''''''''''0''''''''''''''''4''''3'">
              <a:rPr kumimoji="1" lang="zh-CN" altLang="en-US" sz="1400" smtClean="0"/>
              <a:pPr/>
              <a:t>7043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B31B4CC-131A-CDEA-05E4-9DDE2CC268E3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6720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B1B56B-3946-4B01-BEC2-E5A489F97F2F}" type="datetime'''''6''''''''''''''''1''''''''''''''''''''''''8''''''8'''">
              <a:rPr kumimoji="1" lang="zh-CN" altLang="en-US" sz="1400" smtClean="0"/>
              <a:pPr/>
              <a:t>6188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41FA511-8BF1-EC61-EC97-B1D871E5D027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2FC7CB-952E-4D96-96BA-300C2DFA6CFF}" type="datetime'''''7''4''19'''''''''''">
              <a:rPr kumimoji="1" lang="zh-CN" altLang="en-US" sz="1400" smtClean="0"/>
              <a:pPr/>
              <a:t>7419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2DCB536-783D-92D8-C2F8-75820C5354B9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959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FE43DD-8476-4A85-AF00-7EE40ED13A1A}" type="datetime'''''43''''''1''''''''''''''6'">
              <a:rPr kumimoji="1" lang="zh-CN" altLang="en-US" sz="1400" smtClean="0"/>
              <a:pPr/>
              <a:t>4316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F746152F-46DB-EA87-9C7A-0BB94585EE1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14338" y="4972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26DAD8-C33F-4999-B087-4B19212D996A}" type="datetime'''''1''''''''''''''7''''''.''''''7''''''%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50CA72C6-2AF0-3E91-8021-482E5F1BD856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025268878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04937B98-8215-AB2A-7462-9D91D7937F9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151438" y="6176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6B72BF-68F1-43C6-9271-F8F213CF500E}" type="datetime'''''''''''''''''''''''''''''66''''''''''''''.''''2''''''%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7903C5C8-1B1F-78FC-8F3B-DC2B568FBC3A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679825" y="648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A9EDC1-F5DD-477A-BC54-6A43EDE91AF1}" type="datetime'''''6''''''''''''''''''''''''''''''4.''''''''''''2''''''''''%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24DA51A7-372E-04F2-CBA0-2DD21DCC5DF4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842AC5-488B-4790-B72E-65D55B345358}" type="datetime'''''''''''6.''''''''''''''''''''''''''0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1E06A7DD-A159-B956-6F1B-45EB0EDCA025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F4839F0D-E0DF-C4FC-43F4-1482911EB42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935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D451E0-A5AD-455A-A229-CE39A55FB5AA}" type="datetime'''''''''''''''''''''''''2''5''.''''''''''''''2''''''%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E3539DCF-A632-2A5C-D418-0FB4F9EE6BFE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375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53AD0D-56B2-440E-B17B-017D43DB5E49}" type="datetime'''''7''''.''''''''''''''''9''''''''''''''''''''''%'''''">
              <a:rPr lang="zh-CN" altLang="en-US" sz="1000" smtClean="0">
                <a:effectLst/>
              </a:rPr>
              <a:pPr/>
              <a:t>7.9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4C76CA25-65C0-5B4A-2D9E-1142E456CCF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6005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7DE34-4ABD-411D-B014-EB9D1B560CE6}" type="datetime'6''''3''''''.''''''''''''4%''''''''''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4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E6D3C540-5F25-BB42-BB41-C271FBC99E0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46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7AEE16-BCE4-4704-AE71-D364F9CB8B8D}" type="datetime'3''''''''''''''''''''''''''''.''5''''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9DD64B4B-7CAE-EFFE-5081-05D8C3AA17E5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4F39B9D6-7ADD-EA27-CDFD-EB33B5570ADB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5254625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2CEB06-2C06-486F-9BA6-BFA98033DA14}" type="datetime'''''''''''''''2''''''0''''''''''''''.''1''''''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CF22D8F9-6C42-A56B-90D5-417CC9270FE7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6324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867BE6-736F-4BD0-A4FA-596787B1399F}" type="datetime'''''''''''1''''1''''''''''''''''.''0''''''''''''''''''''''''%'">
              <a:rPr lang="zh-CN" altLang="en-US" sz="1000" smtClean="0">
                <a:effectLst/>
              </a:rPr>
              <a:pPr/>
              <a:t>11.0%</a:t>
            </a:fld>
            <a:endParaRPr lang="zh-CN" altLang="en-US" sz="10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CEF25806-AC21-3137-C5FB-2564AA6FC191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581400" y="63007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209433-1046-4D14-83D2-BDA26FC15461}" type="datetime'''''''''''9''''''''.''''''''''9''''''''''%'">
              <a:rPr lang="zh-CN" altLang="en-US" sz="1000" smtClean="0">
                <a:effectLst/>
              </a:rPr>
              <a:pPr/>
              <a:t>9.9%</a:t>
            </a:fld>
            <a:endParaRPr lang="zh-CN" altLang="en-US" sz="1000" dirty="0"/>
          </a:p>
        </p:txBody>
      </p: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CA7BBB89-3129-037B-6B42-75F0877686D2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184775" y="676433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FBD43A-D861-4DA1-933B-722A0EBFC322}" type="datetime'''''''''2''''''''''''''''''''''''''.''''''''6''''''''%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B84FDDFB-5CE7-6562-5EC6-BF166C7FB3C0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7A09D2-458C-9E4A-F9C5-0D39936ADD14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776913" y="6029325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1790F7-CCD2-4E5B-B8F7-6D48085B0342}" type="datetime'''1''3''.''''''''''''''''''''''''''''''''''''''''4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4A47793-8B7F-057D-8037-335398F1CA7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62293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42FB0C-8B9E-4769-B371-D75453561782}" type="datetime'''''''''''''''6''.4''''''''''''''''%'''''''''''''">
              <a:rPr lang="zh-CN" altLang="en-US" sz="1000" smtClean="0">
                <a:effectLst/>
              </a:rPr>
              <a:pPr/>
              <a:t>6.4%</a:t>
            </a:fld>
            <a:endParaRPr lang="zh-CN" altLang="en-US" sz="1000" dirty="0"/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598C619A-39E9-3DBE-FDA3-A2CFF06BD20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76913" y="6442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FCCD1C-F88D-4BC6-963A-00ECE6770417}" type="datetime'''''7''''''''''5''.''5''''''''''''''''''''%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6EA7625A-E536-214C-2E48-8B542F74C49B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842000" y="67675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F094A-266E-4058-BCC7-4A88D574F1BB}" type="datetime'''4''''''.''''''''''7''%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04562541-F1E7-DCC3-CA83-50C84ED48731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067426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14943FB1-2CF6-0DC3-95D2-F5F4CB63BFD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427413" y="57531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E869D0-6AF8-4DC9-8818-923F666C75EC}" type="datetime'''''''''''''1''''''''''29''''''''''''''''''''''''9'''''">
              <a:rPr kumimoji="1" lang="zh-CN" altLang="en-US" sz="1400" smtClean="0">
                <a:effectLst/>
              </a:rPr>
              <a:pPr/>
              <a:t>1299</a:t>
            </a:fld>
            <a:endParaRPr kumimoji="1" lang="zh-CN" altLang="en-US" sz="14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3972E725-ADDC-E8CB-6F49-CC0352C78F46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275138" y="4422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E09A60-C321-4DC8-977C-284C42A04625}" type="datetime'''''''''''''''''''''''3''''''''''''''''''''''6''6''''''''0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5D2CFEB0-AE80-255E-13CE-60762B7D3A4F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121275" y="4937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1AEEAE-1BBE-412A-881E-388AE8F6B4A2}" type="datetime'''''''''''''''''''2''''''''''''''8''''''''12'''''''''">
              <a:rPr kumimoji="1" lang="zh-C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2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9C27CC83-0ACD-E956-8639-B6CD79A3FA8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967413" y="58293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1344</a:t>
            </a:r>
            <a:endParaRPr kumimoji="1" lang="zh-CN" altLang="en-US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CA7E6061-A2BD-AEF6-D959-D23A33984DD1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3551238" y="6021388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2374A5-7D0A-40E5-84A9-F620C6355E35}" type="datetime'''''''''''''''''1''''''''''''''''''''9''''''''''.''9''''%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19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FA6CF5BB-15CC-41C4-5A75-104A3BB9A6D7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93425609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893E79C3-F79E-C85D-9411-59DA51EE15F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402638" y="6172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FD8E1A-801F-4728-B1F3-A12AB8849213}" type="datetime'''''7''''''''''6.''''''8''''''''''''%'''''''''''''''''''">
              <a:rPr lang="zh-CN" altLang="en-US" sz="1000" smtClean="0">
                <a:solidFill>
                  <a:schemeClr val="bg1"/>
                </a:solidFill>
              </a:rPr>
              <a:pPr/>
              <a:t>76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8CA78085-AEB6-8BF3-84C0-E6B8CC83880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581775" y="6084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DD2A6-F9F4-460B-B785-9B91AF2A7E02}" type="datetime'''''''''''''''6''''''''''''''''2.3''''''''''''''%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613BE619-DCDB-EA7D-F999-DD1CE2214FF4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658177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DB1979-FFC3-4808-9E57-C141A1753B46}" type="datetime'''''''''''''''''''''''''''''''''''''''''1.''8''''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2FDE3E0C-D5CD-9B91-6D11-12CF1A17E99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6334125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6CF787BF-DDC8-C6A0-BAD3-27BF9D76B8AD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7389813" y="5172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50781A-9236-4E0E-986C-112941AA60AE}" type="datetime'''''''''''''''''''''''''''''''''''''28.4%'''''''''''''''">
              <a:rPr lang="zh-CN" altLang="en-US" sz="1000" smtClean="0">
                <a:solidFill>
                  <a:schemeClr val="bg1"/>
                </a:solidFill>
              </a:rPr>
              <a:pPr/>
              <a:t>2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83F9B521-1302-7352-F63E-1E52F212F6B5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353300" y="5449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5A3DCB-02AC-494E-BEAB-92A97DCD99AB}" type="datetime'''''''''''''''''''1''''''1''.''''''''''''''''''5''''%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5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43421840-E60B-BA57-1C59-064051A3D72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618413" y="6124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06E983-5C0F-4B82-8991-2E49A3C114F3}" type="datetime'5''''5''''''''''''''''''''''.''''''3''''''''''''''''%'''">
              <a:rPr lang="zh-CN" altLang="en-US" sz="1000" smtClean="0">
                <a:solidFill>
                  <a:schemeClr val="bg1"/>
                </a:solidFill>
              </a:rPr>
              <a:pPr/>
              <a:t>5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B74D72EA-75C7-0093-446E-D64F1BEBC377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386638" y="67325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8DBE76-2F1A-4E21-B195-C03D3217F798}" type="datetime'''4''''''''''.''''''''''''''''8''''''''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2B4C8C6B-AE9A-4D1B-BE75-5FF03F2AE51F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7326313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23B01E43-8D45-BE80-91C2-1C10A0C2C729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8347075" y="5195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5D5BBF-3890-42FE-A2B3-8D8D37A7D318}" type="datetime'''''''1''''''''''''''''''''''''3''''''.6''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A40B06F-2539-10B4-F3DC-333CC42A8AF4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393113" y="54483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402859-D8FC-4F2B-9479-601EAF0AD595}" type="datetime'''5''''''''''''''.''''''''''''''''2''''%'''''''''''''''">
              <a:rPr lang="zh-CN" altLang="en-US" sz="1000" smtClean="0">
                <a:effectLst/>
              </a:rPr>
              <a:pPr/>
              <a:t>5.2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41036005-3B66-6EAF-8C89-336D79111961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6581775" y="5257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014381-A2A4-43CE-AB69-09F86F66D430}" type="datetime'''''''''''''''''''''1''''5''''''''''''''''''''''''''''.''''8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8%</a:t>
            </a:fld>
            <a:endParaRPr lang="zh-CN" altLang="en-US" sz="10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9213A597-EF4A-15AF-D78D-9C6D95ADF681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380413" y="67437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9891FE-B8E6-46A9-A099-EFE1FDEFB6F1}" type="datetime'''''''''''4.''''''''''''''''''4''''''''''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4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1F8C8143-53AF-6F86-7A55-05649D7D01B4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320088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6B2AA7D2-B3F9-A0D5-D36B-0DA5ED02894A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9118600" y="50879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AB6C1B-290D-4AB2-B92C-D298769F1953}" type="datetime'''''''''1''''''''''''5''''''''''''''.''''''4''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27E50380-FA4A-15A1-9CBB-421AB1BDB799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178925" y="53990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567890-45C6-4498-8F3D-2498A9C3C722}" type="datetime'''''''''''''''''9''''''''.''''''''''''''''''''''''2%'''''">
              <a:rPr lang="zh-CN" altLang="en-US" sz="1000" smtClean="0">
                <a:effectLst/>
              </a:rPr>
              <a:pPr/>
              <a:t>9.2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9B6D953A-06A1-DA33-640D-87094067AA42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186863" y="6173788"/>
            <a:ext cx="352425" cy="136525"/>
          </a:xfrm>
          <a:prstGeom prst="rect">
            <a:avLst/>
          </a:prstGeom>
          <a:solidFill>
            <a:srgbClr val="4A76C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DEF472-4599-48E2-8801-8E6429487B8B}" type="datetime'''''''''''''72.''''''''5''''''''%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72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56EBBECC-5280-AFFA-3003-E7BD9D4CF67C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3688" y="67548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C4C62E-F9D2-43F4-85B1-392AE93ACFE6}" type="datetime'''''''''2.''''''''''9''''''''''''''%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DBCB437D-D443-7E05-E3BF-2643BF105162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9312275" y="6950075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FA6390D0-7A5D-C1E5-7629-854530C2C148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6337301" y="44005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EE747-9E12-43A3-BF38-8EE4F916C506}" type="datetime'''''''''''''''''''''6''''''''''''''9''''1'''''''''''''''''">
              <a:rPr kumimoji="1" lang="zh-CN" altLang="en-US" sz="1400" smtClean="0"/>
              <a:pPr/>
              <a:t>691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D3DC877A-C077-89E3-169F-AAA97A16A4CE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7369175" y="46148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8F3FE8-73FF-4051-B971-A37A847BF89D}" type="datetime'''''6''''6''''''''''''''''''''''''0''''''''''''''''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0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3FD0B2EA-598E-E097-2D0E-C4D0E632A259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8323264" y="48434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FF6F99-109B-4800-B072-BE5AC4710A08}" type="datetime'''''''''5''''''''''5''''''''''''''6'''''''''''''''''''''''''''">
              <a:rPr kumimoji="1" lang="zh-CN" altLang="en-US" sz="1400" smtClean="0"/>
              <a:pPr/>
              <a:t>556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AE16927A-3C32-91B1-9A57-16DCD8158AE2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9248776" y="46767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62A75-CD7A-4A69-8B89-B01F39CB4937}" type="datetime'6''''''''''''''''''''0''0'''''''''''''''''''''''''''''''''''''">
              <a:rPr kumimoji="1" lang="zh-CN" altLang="en-US" sz="1400" smtClean="0"/>
              <a:pPr/>
              <a:t>600</a:t>
            </a:fld>
            <a:endParaRPr kumimoji="1" lang="zh-CN" altLang="en-US" sz="14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CB0CBC6B-47B2-DA7B-5028-62F8C93DD825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6581775" y="4878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0DF01C-3E41-40D2-A30B-0769F3AD6446}" type="datetime'''''''''''''''''''''''2''''''''0''.''''''''''''''''''''''1''%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4F84A6AD-FAF4-3584-8928-D326AEB4A318}"/>
              </a:ext>
            </a:extLst>
          </p:cNvPr>
          <p:cNvGraphicFramePr/>
          <p:nvPr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1551703263"/>
              </p:ext>
            </p:extLst>
          </p:nvPr>
        </p:nvGraphicFramePr>
        <p:xfrm>
          <a:off x="9658350" y="4203700"/>
          <a:ext cx="6059488" cy="250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0"/>
          </a:graphicData>
        </a:graphic>
      </p:graphicFrame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CD2AF9ED-482A-75EF-9DDB-835D44A9645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 flipV="1">
            <a:off x="11582400" y="55832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线连接符 18">
            <a:extLst>
              <a:ext uri="{FF2B5EF4-FFF2-40B4-BE49-F238E27FC236}">
                <a16:creationId xmlns:a16="http://schemas.microsoft.com/office/drawing/2014/main" id="{BBAE150E-88F0-FD0F-2A91-06B5CED8135E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0109200" y="521493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F0CC1891-0899-A761-AEF5-A89382029E18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5260638" y="5503863"/>
            <a:ext cx="6350" cy="223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3A28044E-C570-1543-A77C-08C86DFCFFD3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>
            <a:off x="15266988" y="5695950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4" name="直线连接符 823">
            <a:extLst>
              <a:ext uri="{FF2B5EF4-FFF2-40B4-BE49-F238E27FC236}">
                <a16:creationId xmlns:a16="http://schemas.microsoft.com/office/drawing/2014/main" id="{F09DA3DC-4CF6-3F9C-F34B-192B18BCDDE3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 bwMode="auto">
          <a:xfrm flipV="1">
            <a:off x="10109200" y="5265738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069FA543-C55E-BF9D-F169-F453D0EF00C8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2033250" y="6683375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E5A4B59D-A423-EE47-58B3-70DE1EAF50DC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560050" y="6683375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A0819879-58C0-F09B-44B0-B5407D2045C9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1636375" y="5303838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A7E9DD-2058-44AC-BCD2-416D4D2D121E}" type="datetime'''''''5''''''''5''''''.''''''0''''''''''''''''''''''%'''''''">
              <a:rPr lang="zh-CN" altLang="en-US" sz="1000" smtClean="0">
                <a:effectLst/>
              </a:rPr>
              <a:pPr/>
              <a:t>5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1ECDF3BF-344B-65CC-29E6-12B392CEB8F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1406188" y="4972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A9A9E3-DD9D-4F97-AA8F-A50E9CE73069}" type="datetime'''69''''''.''''''''''''''''''0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EECDA5F5-C094-714D-351B-74CE5858D998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1406188" y="5757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8B49FF-2E6B-460A-9F5B-CD40A40CCAD1}" type="datetime'''3''''''''''''''3''''''''''.''''0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0%</a:t>
            </a:fld>
            <a:endParaRPr lang="zh-CN" altLang="en-US" sz="1000" dirty="0"/>
          </a:p>
        </p:txBody>
      </p:sp>
      <p:sp useBgFill="1">
        <p:nvSpPr>
          <p:cNvPr id="819" name="文本占位符 2">
            <a:extLst>
              <a:ext uri="{FF2B5EF4-FFF2-40B4-BE49-F238E27FC236}">
                <a16:creationId xmlns:a16="http://schemas.microsoft.com/office/drawing/2014/main" id="{F18EF040-55DE-536D-A123-E4642F6EAD8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1406188" y="562292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4E5E90-9FDE-4955-9BA0-B1440E84E3C5}" type="datetime'''''''''42.''''''''''''''''''''0''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89F7053C-31A8-9059-3B51-2A0F00A24FC6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9823450" y="6683375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0D2172C6-4A44-8685-A701-55AA1E631CE7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11296650" y="6683375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>
        <p:nvSpPr>
          <p:cNvPr id="580" name="文本占位符 2">
            <a:extLst>
              <a:ext uri="{FF2B5EF4-FFF2-40B4-BE49-F238E27FC236}">
                <a16:creationId xmlns:a16="http://schemas.microsoft.com/office/drawing/2014/main" id="{2587B38D-601B-949D-18FF-DE0C6EE0261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2142788" y="5062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199E04-9816-4F6C-9C31-6013F5B3F756}" type="datetime'''''''6''''''''''''''''''''3''.''0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dirty="0"/>
          </a:p>
        </p:txBody>
      </p:sp>
      <p:sp useBgFill="1">
        <p:nvSpPr>
          <p:cNvPr id="822" name="文本占位符 2">
            <a:extLst>
              <a:ext uri="{FF2B5EF4-FFF2-40B4-BE49-F238E27FC236}">
                <a16:creationId xmlns:a16="http://schemas.microsoft.com/office/drawing/2014/main" id="{C1C9CF96-B513-FECD-5A8E-E1E8D4A5D98C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9932988" y="530542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4DF66E-BBDF-40C2-8F46-61C5D4C382D1}" type="datetime'''''''6''''''3''.0''''''''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4A6D369A-2A52-6637-4011-38528C34C977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12917488" y="66833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 useBgFill="1">
        <p:nvSpPr>
          <p:cNvPr id="866" name="文本占位符 2">
            <a:extLst>
              <a:ext uri="{FF2B5EF4-FFF2-40B4-BE49-F238E27FC236}">
                <a16:creationId xmlns:a16="http://schemas.microsoft.com/office/drawing/2014/main" id="{D9665549-36D0-A2EF-E0A0-BB03800BB8E3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3617575" y="491172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8D4CC0-0E8A-4409-B185-BE6F8C76A6AC}" type="datetime'''''7''''''''''''''''3''''''''''''''.0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11" name="文本占位符 2">
            <a:extLst>
              <a:ext uri="{FF2B5EF4-FFF2-40B4-BE49-F238E27FC236}">
                <a16:creationId xmlns:a16="http://schemas.microsoft.com/office/drawing/2014/main" id="{3FD36420-C5A0-B8FD-0E35-A77921F58907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3617575" y="45958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7C48D3-321C-44D5-B56D-02207BCBC865}" type="datetime'''''''''9''''4''''''''''''''''''''''''''''.''''0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4AC71FDF-3209-7001-069C-3D9ECCF03629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3617575" y="5230813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B52925-BBC6-4AB1-814B-72E792B85EBC}" type="datetime'''''''''6''''''''''8.''''''0''''''''''''''''''''''''''''''''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3A54C074-B40F-8DAF-1FDF-AF54F6CE0CA5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3654088" y="66833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089EA05A-CBCE-AAE6-84B2-03410875C568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4390688" y="6683375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 useBgFill="1">
        <p:nvSpPr>
          <p:cNvPr id="864" name="文本占位符 2">
            <a:extLst>
              <a:ext uri="{FF2B5EF4-FFF2-40B4-BE49-F238E27FC236}">
                <a16:creationId xmlns:a16="http://schemas.microsoft.com/office/drawing/2014/main" id="{507D1227-2E4C-D5E8-8CDF-AF3D0F01B73B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071725" y="5545138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376559-4D7A-4BF6-BA90-788DDBD8066C}" type="datetime'''3''0''''''''''''''''.''0''%'''''''''''''''''''''''''''''''">
              <a:rPr lang="zh-CN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17F60E78-0045-C32C-1DA1-D0E88D1B159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15108238" y="6240463"/>
            <a:ext cx="3190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471BF2-3C62-4D03-9F79-334B7D6EDF21}" type="datetime'''''''1''''''''''''.''1''''''''''''%'''''''''''''''''''''''">
              <a:rPr lang="zh-CN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745" name="文本占位符 2">
            <a:extLst>
              <a:ext uri="{FF2B5EF4-FFF2-40B4-BE49-F238E27FC236}">
                <a16:creationId xmlns:a16="http://schemas.microsoft.com/office/drawing/2014/main" id="{91355AE7-46B4-858D-50D0-F9770BA339DA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063788" y="5353050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E58880-06DA-494A-B221-20FAEEB54B17}" type="datetime'''''''''''30''''''''''''''.''''''''''''''''5''''%'''''''''">
              <a:rPr lang="zh-CN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5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821" name="文本占位符 2">
            <a:extLst>
              <a:ext uri="{FF2B5EF4-FFF2-40B4-BE49-F238E27FC236}">
                <a16:creationId xmlns:a16="http://schemas.microsoft.com/office/drawing/2014/main" id="{E9B38E61-ECE7-9341-6FC9-F2650E1E9B77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15071725" y="583723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A422-C8A6-4C5F-8AD8-55603F908B5A}" type="datetime'''''''2''''''''''''7''''''''''''.''''''''''''''''9''''''''%'">
              <a:rPr lang="zh-CN" altLang="en-US" sz="11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3D97B906-29F1-D27D-0912-CA8D82D5CE73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4981238" y="6683375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B324F285-144D-F982-88F3-4611EC341DB1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9901238" y="4097338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A7B148-8C14-445C-83BC-F92D9A57CA50}" type="datetime'''''''''1''''''''''2''7''''''''''.''0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7.0%</a:t>
            </a:fld>
            <a:endParaRPr lang="zh-CN" altLang="en-US" sz="1000" dirty="0"/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9D69F197-29B7-1812-B0C8-F8AA4FCB3D5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9932988" y="5984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0932AF-6AA6-404F-B2EB-47C46B774375}" type="datetime'''''''''''1''''''''''''''''''''''8''''''''''''.''''0%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.0%</a:t>
            </a:fld>
            <a:endParaRPr lang="zh-CN" altLang="en-US" sz="1000" dirty="0"/>
          </a:p>
        </p:txBody>
      </p:sp>
      <p:sp>
        <p:nvSpPr>
          <p:cNvPr id="871" name="文本占位符 2">
            <a:extLst>
              <a:ext uri="{FF2B5EF4-FFF2-40B4-BE49-F238E27FC236}">
                <a16:creationId xmlns:a16="http://schemas.microsoft.com/office/drawing/2014/main" id="{8E2CC329-214B-7CF2-4ADF-826065AEF71E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9932988" y="50784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D7D4D1-A964-4F2A-9F22-FF49674E8D33}" type="datetime'''''''''''6''2''''''.''''0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8483ABB7-2A8A-24C8-52B2-11961E213763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9529763" y="7912100"/>
            <a:ext cx="514350" cy="0"/>
          </a:xfrm>
          <a:prstGeom prst="line">
            <a:avLst/>
          </a:prstGeom>
          <a:ln w="28575" cap="rnd" cmpd="sng" algn="ctr">
            <a:solidFill>
              <a:srgbClr val="E9163C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4CF075E3-0C5C-1C35-B371-9CF9C44D8C0F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0758488" y="7912100"/>
            <a:ext cx="51435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C5332B83-C251-B148-A2D6-4CFD0712066E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12165013" y="7912100"/>
            <a:ext cx="5143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9984BBD9-AE55-F404-114E-7460F9A7ED37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13571538" y="7912100"/>
            <a:ext cx="51435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DE7F2B83-9612-9A97-5202-3AA5049008D5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0109200" y="782955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8BF5EE62-6DC3-E0B4-F4BD-FECE1BF2F98B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1337925" y="7829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FA8D30A1-DF6D-ACDA-89A5-FDC5D622FEC5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2744450" y="7829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6A7DA4C2-20AC-9705-5A17-C91953CD3F17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14150975" y="78295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8EBA33-E23A-4703-9FEA-D96D45E02755}" type="datetime'''''''''''广告''现''''金''''''''''''''''''收''''''入'''''''''''">
              <a:rPr kumimoji="1" lang="zh-CN" altLang="en-US" sz="1400" smtClean="0"/>
              <a:pPr/>
              <a:t>广告现金收入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DDE979F9-B528-B7B6-D03B-6403DABB4E1D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2833688" y="7754938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C3BD17EE-5237-26D4-177B-A6E99D794F5C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3948113" y="775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A01B8FFF-55AD-3DAC-626E-A385EDC7D572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5062538" y="7754938"/>
            <a:ext cx="250825" cy="187325"/>
          </a:xfrm>
          <a:prstGeom prst="rect">
            <a:avLst/>
          </a:prstGeom>
          <a:solidFill>
            <a:srgbClr val="4975C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F70E7958-B50B-1869-6133-297B245935F1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>
            <a:off x="6176963" y="77549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FEA05CA6-B439-A7B3-C226-2C8A90B6689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313531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9DC72102-EF6A-84EB-A96A-9841A310A555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424973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C5743189-39C6-806D-E271-4960CECF3C2A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536416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C759F194-6A3B-8C87-7BF5-7656360E732F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6478588" y="7766050"/>
            <a:ext cx="1066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3164EA-BD55-400C-AE56-D1ED7801C330}" type="datetime'''品''''''''''''牌''''''广''''''''''告''收''''''''''''''入'''">
              <a:rPr kumimoji="1" lang="zh-CN" altLang="en-US" sz="1400" smtClean="0"/>
              <a:pPr/>
              <a:t>品牌广告收入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66FD05A7-B0F2-8A6F-F11F-ACC6F52A7698}"/>
              </a:ext>
            </a:extLst>
          </p:cNvPr>
          <p:cNvSpPr txBox="1"/>
          <p:nvPr/>
        </p:nvSpPr>
        <p:spPr>
          <a:xfrm>
            <a:off x="3448824" y="3649663"/>
            <a:ext cx="35189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【</a:t>
            </a:r>
            <a:r>
              <a:rPr kumimoji="1" lang="zh-CN" altLang="en-US" sz="2000" b="1" dirty="0"/>
              <a:t>教培</a:t>
            </a:r>
            <a:r>
              <a:rPr kumimoji="1" lang="en-US" altLang="zh-CN" sz="2000" b="1" dirty="0"/>
              <a:t>】</a:t>
            </a:r>
            <a:r>
              <a:rPr kumimoji="1" lang="zh-CN" altLang="en-US" sz="2000" b="1" dirty="0"/>
              <a:t>收入结构占比及总额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5098BECF-177E-6A11-CEEC-CAB28FA10A89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613528E1-63CC-9695-A472-1C2799414CF2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C4AC027-2F31-B209-E5E4-F3462CA871B0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DB9D13E-A515-F33B-E9FA-02D42E7A30F6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BE73EE96-D1F0-446C-9078-97F5B0AAA55C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12D258F9-FFDA-86BC-0A4E-E9DE9135A072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503501FB-289A-B9AE-9426-7480C05F7DB9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FFA574DD-A30C-4C2F-9A9C-AD9C4680A7BC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38E6D9E5-2818-3663-707F-3AB6526D8B6F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D20BD361-DF58-4B4A-6377-4CC95111B305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椭圆 214">
            <a:extLst>
              <a:ext uri="{FF2B5EF4-FFF2-40B4-BE49-F238E27FC236}">
                <a16:creationId xmlns:a16="http://schemas.microsoft.com/office/drawing/2014/main" id="{72467073-1CC7-9F91-A8BE-9D087B206B48}"/>
              </a:ext>
            </a:extLst>
          </p:cNvPr>
          <p:cNvSpPr/>
          <p:nvPr/>
        </p:nvSpPr>
        <p:spPr>
          <a:xfrm>
            <a:off x="16087323" y="12617450"/>
            <a:ext cx="4988327" cy="14332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8A0B6B5C-2A4C-F449-F85D-1B8E17D0D11C}"/>
              </a:ext>
            </a:extLst>
          </p:cNvPr>
          <p:cNvSpPr/>
          <p:nvPr/>
        </p:nvSpPr>
        <p:spPr>
          <a:xfrm flipV="1">
            <a:off x="35880830" y="-4943134"/>
            <a:ext cx="412750" cy="56977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52A2A7DA-8125-1282-D96B-F0E790DCB2C2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图片 26">
            <a:extLst>
              <a:ext uri="{FF2B5EF4-FFF2-40B4-BE49-F238E27FC236}">
                <a16:creationId xmlns:a16="http://schemas.microsoft.com/office/drawing/2014/main" id="{82005A3C-D842-1189-2A91-FA7E0B33040A}"/>
              </a:ext>
            </a:extLst>
          </p:cNvPr>
          <p:cNvPicPr>
            <a:picLocks noChangeAspect="1"/>
          </p:cNvPicPr>
          <p:nvPr/>
        </p:nvPicPr>
        <p:blipFill>
          <a:blip r:embed="rId131"/>
          <a:stretch>
            <a:fillRect/>
          </a:stretch>
        </p:blipFill>
        <p:spPr>
          <a:xfrm>
            <a:off x="16403637" y="4139278"/>
            <a:ext cx="5050546" cy="313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424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A43DD-3BF7-1860-B24D-E0618D662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4A38A2-FD43-322A-9111-F363BA1B847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51188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A011A6A0-4A14-1361-BC9F-E22E936246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229178"/>
              </p:ext>
            </p:extLst>
          </p:nvPr>
        </p:nvGraphicFramePr>
        <p:xfrm>
          <a:off x="287338" y="2400979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accent4"/>
                          </a:solidFill>
                        </a:rPr>
                        <a:t>【</a:t>
                      </a:r>
                      <a:r>
                        <a:rPr lang="zh-CN" altLang="en-US" dirty="0">
                          <a:solidFill>
                            <a:schemeClr val="accent4"/>
                          </a:solidFill>
                        </a:rPr>
                        <a:t>医疗</a:t>
                      </a:r>
                      <a:r>
                        <a:rPr lang="en-US" altLang="zh-CN" dirty="0">
                          <a:solidFill>
                            <a:schemeClr val="accent4"/>
                          </a:solidFill>
                        </a:rPr>
                        <a:t>】</a:t>
                      </a:r>
                      <a:r>
                        <a:rPr lang="zh-CN" altLang="en-US" dirty="0"/>
                        <a:t>低频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/>
                        <a:t>收入结构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CE6DED7-1B21-D4B9-1512-92D31C339A9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839696"/>
              </p:ext>
            </p:extLst>
          </p:nvPr>
        </p:nvGraphicFramePr>
        <p:xfrm>
          <a:off x="287338" y="4672013"/>
          <a:ext cx="3063875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CEA65299-3BAD-51ED-08E9-AE69E8D6885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25663" y="5894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C3537-8E3D-4AF9-9D58-B76DD6DF419C}" type="datetime'''''''''''7''''''''''''''''4.''''''''''''''7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21638E48-93EA-AFB4-AEF0-B8D71D01B01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14338" y="5902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ECE856-E844-45F9-B7C3-7CEA69726AC0}" type="datetime'''''''''''''''''8''''''''''2.''''4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A858C0A-18A2-E5BB-FC4A-34C2EB70861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4338" y="67722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F085D-E731-4E32-BD5C-42C35C8C8429}" type="datetime'''''''''''3''''.''''''''''''3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A887DCF-096C-4625-D0B0-9F705F9019D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1288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1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FF59375E-243B-BE29-8D72-DCEC9053C67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160463" y="4819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FBB89-4D63-4065-BB47-B983408E33D7}" type="datetime'''1''''''''''1''''''''.''''''2''''''''''''''%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EF145C7C-61BF-A18B-EC27-9E99C1A1F9C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93800" y="49942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467F2-770B-4539-B000-BF407B66FEA0}" type="datetime'''5''''''''''''''.''''''''''''''''3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65CEAB82-858C-67F5-B6ED-08833B9D2B4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60463" y="5878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952B7-1AAB-431B-8F73-17AC7DAF1867}" type="datetime'''''''''''7''''''''''''8''''''''.''''7%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16237AD4-E6F5-3802-FA41-78DFFEDD624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93800" y="675640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243F2-5468-402F-A740-FABB98715315}" type="datetime'4''''''''''''''''''.8''''''''''''''''''''%''''''''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BC663720-CD8D-4356-75FD-7FC7C8EAE8C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080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1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E3BA9C7F-5351-0D2E-42FC-65ADE526A0F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25663" y="483235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C48EB1-FCCC-44E3-8E32-E301815DAA74}" type="datetime'''''''''13''''''.''''''''7''''''%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DE6F35D3-F4B6-87A3-FFDB-8E2940615F3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59000" y="50387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C8C93F-5CF0-4249-840E-DFE6BF9B94FD}" type="datetime'''''''''''''''''''5''''''''''''''''.''''''''''9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FD971DC2-400A-3674-AC46-E15AC2E249E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14338" y="50117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DD03-8798-4177-B396-E84FB02CE0B8}" type="datetime'''''''''''''''''''''''''''''5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E6037409-D120-8971-CC52-0EAFDF3494F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159000" y="6746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3B556-BCB6-4FC1-8728-409D4CBB0B68}" type="datetime'''''5''''''''''''''''''''''''''''.''''''''7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2466FE78-508B-0CA5-FA07-67B1227CD24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073275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1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1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3531CCE6-3487-93E8-442B-9B669D90F5D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59088" y="5445125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74B41-634F-4C7A-BA96-89F837E4C111}" type="datetime'''1''''''''''''0''''''''''''''''.8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8740A723-AAC3-0C2E-2E4E-3A84498986D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936875" y="57102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6B6F9-22ED-45C5-A7CA-31EC187D198E}" type="datetime'''''''''''''''''''''''''''5''''.''0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F0DA7592-3359-387C-0B7E-58E511FA46F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71788" y="6238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ACD6A-DEA5-44A2-BB59-FF72A55B7CB3}" type="datetime'''78.''''''''''''''5''''''''''''%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B230F502-9E10-75CC-08FD-4198E71AEA4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936875" y="67706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92FF6-0041-4724-AB07-D6967732DCBD}" type="datetime'''''''''''5''''''''''''''''''.''''''6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E7B55DFF-9BFC-72FE-57DB-A91E31DDCBF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40063" y="6954838"/>
            <a:ext cx="4587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1E180B-65A6-45FF-8433-C44CD83B47CF}" type="datetime'''F''Y''''''''''''''2''''''''''7''''''''''''''''Q''''''''''1'">
              <a:rPr lang="en-GB" altLang="en-US" sz="11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100" b="1" dirty="0">
              <a:ea typeface="等线" panose="02010600030101010101" pitchFamily="2" charset="-122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8CD4810-0EE8-C833-FAC7-4E229EF1CC9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55588" y="4521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701CDE-6344-44B4-B852-5B1B44CF2CA7}" type="datetime'''255''''5''''''''''''''''''''''''''''''''''''2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55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200FC8F-B21E-6600-3FEF-7B80072BB711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84263" y="43338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93552D-A0A7-4C94-B972-DA6FBB629002}" type="datetime'''''''''''''''''''''''''2''''''6''''''''''''''49''9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499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E781867-9AA6-EF1C-4ABF-84FBA4F2CCB4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049463" y="43307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04938-0BC4-4DF2-A903-0A9BACD59487}" type="datetime'''2''''''''''''''''''''''''''''''''''''6''''''''6''''''''''83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683</a:t>
            </a:fld>
            <a:endParaRPr kumimoji="1" lang="zh-CN" alt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A88E056-E955-83DF-A331-3772997A535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055938" y="52641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A24805-FD18-46E2-B059-88C31C711D2C}" type="datetime'''''1''59''''2''''''''''''''5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925</a:t>
            </a:fld>
            <a:endParaRPr kumimoji="1" lang="zh-CN" altLang="en-US" sz="14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2F8F0E64-278F-C4FB-09D3-5DCAAE60425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14338" y="4867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70870-2B18-4429-AEF4-EA14DA22EEDF}" type="datetime'9''''''''''''''''''.''''''''''''''''''''0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BD6125E1-E058-DC52-0BF2-41FDB742F5FE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41675397"/>
              </p:ext>
            </p:extLst>
          </p:nvPr>
        </p:nvGraphicFramePr>
        <p:xfrm>
          <a:off x="3552825" y="4554538"/>
          <a:ext cx="2703513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976" name="直线连接符 975">
            <a:extLst>
              <a:ext uri="{FF2B5EF4-FFF2-40B4-BE49-F238E27FC236}">
                <a16:creationId xmlns:a16="http://schemas.microsoft.com/office/drawing/2014/main" id="{1F39176D-2C07-50C8-0B26-C92E9E72755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633788" y="5780088"/>
            <a:ext cx="1588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40D2A73B-C19A-949A-E3F2-EFD27D3EFBC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6043613" y="6094413"/>
            <a:ext cx="84137" cy="1031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8865DDBC-5138-F717-C8F3-029A5387BB0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184775" y="672782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ACDDB-26A8-4E53-8B86-27B1AFC4ADCF}" type="datetime'''6''''''''''''''.''''''''''''''''''''''''''0''''''''%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55AB8730-0E11-4C0F-C5B5-09B8CEC57BE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529013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5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7AF6E36-B31D-8C91-0998-81E6AF0A21F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4324350" y="4813300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279FB-E380-4117-B6DB-B8085B080261}" type="datetime'''''''''1''4''''''''''''''''''''''''''''''''''''.''''1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3ABCA0B9-A0DA-160F-5EDB-7D9D299647B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322763" y="511333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FB3D68-BBF3-4F3E-946C-C62C77763750}" type="datetime'6''''''''''''.''4''''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4%</a:t>
            </a:fld>
            <a:endParaRPr lang="zh-CN" altLang="en-US" sz="1000" dirty="0"/>
          </a:p>
        </p:txBody>
      </p:sp>
      <p:sp>
        <p:nvSpPr>
          <p:cNvPr id="967" name="Text Placeholder 2">
            <a:extLst>
              <a:ext uri="{FF2B5EF4-FFF2-40B4-BE49-F238E27FC236}">
                <a16:creationId xmlns:a16="http://schemas.microsoft.com/office/drawing/2014/main" id="{2F996F75-0E01-4A91-01E7-93248987DB2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305300" y="5838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6EA33-3EC0-4922-94C4-8D2457AE5D8C}" type="datetime'7''''3''''''''''''''''''''''''''.''''''''5%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3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FC929090-0621-51FD-A6D1-5935802718FE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338638" y="6719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AA7C9-BD5C-40A4-966C-159C76AD541E}" type="datetime'''''''''''''''6''.''''''''''''0''''''%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DE3ED04B-7DDA-58E1-0601-3A5C3B0D853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75150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5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B4C5FD6B-5E63-9704-1D3C-24C114E7D09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51438" y="4986338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13B2A2-CC57-4377-8539-E914420EEAA6}" type="datetime'''''''''13''''''''''''.3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7533D08-E755-499B-AC57-A41CBBC6965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153025" y="52832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73B9-305B-420B-ABAA-03C3C26F0C36}" type="datetime'''5''''''''''''''''''''''''''''''.''''7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%</a:t>
            </a:fld>
            <a:endParaRPr lang="zh-CN" altLang="en-US" sz="1000" dirty="0"/>
          </a:p>
        </p:txBody>
      </p:sp>
      <p:sp>
        <p:nvSpPr>
          <p:cNvPr id="966" name="Text Placeholder 2">
            <a:extLst>
              <a:ext uri="{FF2B5EF4-FFF2-40B4-BE49-F238E27FC236}">
                <a16:creationId xmlns:a16="http://schemas.microsoft.com/office/drawing/2014/main" id="{D6400D5E-FFD9-7943-B128-AC03FD7AD1C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151438" y="59483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3601CB-E065-40D8-AABE-7DC8A46DCD1E}" type="datetime'''''''''''7''''''''4''''''''.''''''9''''''%''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29BD4F51-F16D-3A1A-7509-E92009654C3F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679825" y="6762750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F3388-5B75-4FFF-95B8-CC4391E9189D}" type="datetime'''5''''''''''''''''.''0''''''''''''''''''''''''''''%''''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E3A1BD3C-5FF2-ECD0-ED78-ADF8466297D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221288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5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B7B6EBA-B963-D401-C1D4-35636267D58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842000" y="605313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AD83B-F7A1-447E-9597-585AA9221B71}" type="datetime'''''''3''''''''''''''''.''''''''''''''''''''''6''''%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338CEF7-8E95-661A-1B26-6236B7DAA4D0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845175" y="61976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A767DC-9D4A-43C6-A808-8F33E72E11E9}" type="datetime'''2''.7''''''''''''''''%''''''''''''''''''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2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968" name="Text Placeholder 2">
            <a:extLst>
              <a:ext uri="{FF2B5EF4-FFF2-40B4-BE49-F238E27FC236}">
                <a16:creationId xmlns:a16="http://schemas.microsoft.com/office/drawing/2014/main" id="{9A848E9C-56DB-96FB-4C4A-3297561C90F4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3679825" y="6354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7E28F6-0830-4ECB-A6FF-BCCE71575ADD}" type="datetime'80''''''.7''''''''''''''''''''''%'''''''''''''''">
              <a:rPr lang="zh-CN" altLang="en-US" sz="1000">
                <a:solidFill>
                  <a:schemeClr val="bg1"/>
                </a:solidFill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965" name="Text Placeholder 2">
            <a:extLst>
              <a:ext uri="{FF2B5EF4-FFF2-40B4-BE49-F238E27FC236}">
                <a16:creationId xmlns:a16="http://schemas.microsoft.com/office/drawing/2014/main" id="{0CD2DE3F-043B-FC3A-5BB0-A9DB7BF73FB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5776913" y="6418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95CE8-6379-4936-ADF3-49627F89285A}" type="datetime'8''''''''''''''''''''''''''''''8''''''.''''''''''8''''''''%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748BBF67-7C41-5F98-8BF4-5BBD1CE117C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5842000" y="676751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42292-BC6E-4ACD-B721-AF7678C32A46}" type="datetime'''4''''''''''''''''''.''''''9''''''''''''''''''%'''''">
              <a:rPr lang="zh-CN" altLang="en-US" sz="1000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21803C4F-DD1B-9476-0C7F-B3C361047EF0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067426" y="694848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8F13CA-DFF8-44AF-957B-793185F9B07C}" type="datetime'''''''5''''月'''''''''''''''''''''''''">
              <a:rPr lang="zh-CN" altLang="en-US" sz="105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</a:t>
            </a:fld>
            <a:endParaRPr lang="zh-CN" altLang="en-US" sz="1050" b="1" dirty="0"/>
          </a:p>
        </p:txBody>
      </p:sp>
      <p:sp useBgFill="1">
        <p:nvSpPr>
          <p:cNvPr id="971" name="Text Placeholder 2">
            <a:extLst>
              <a:ext uri="{FF2B5EF4-FFF2-40B4-BE49-F238E27FC236}">
                <a16:creationId xmlns:a16="http://schemas.microsoft.com/office/drawing/2014/main" id="{43B15EEF-F176-7F60-5AEC-BE025754F9B9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3427413" y="55880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A9F12-EC0D-4C21-9DE6-B1A19DDA5957}" type="datetime'''''''''''''''''''5''''''''''''''1''8''8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8</a:t>
            </a:fld>
            <a:endParaRPr kumimoji="1" lang="zh-CN" altLang="en-US" sz="14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57E58E73-EE77-A984-84BB-733C44DDB044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3581400" y="604837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CF432-BB00-4428-84A3-4E8735A36F46}" type="datetime'5.''''''''''''''''8''''''''%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8%</a:t>
            </a:fld>
            <a:endParaRPr lang="zh-CN" altLang="en-US" sz="1000" dirty="0"/>
          </a:p>
        </p:txBody>
      </p:sp>
      <p:sp>
        <p:nvSpPr>
          <p:cNvPr id="972" name="Text Placeholder 2">
            <a:extLst>
              <a:ext uri="{FF2B5EF4-FFF2-40B4-BE49-F238E27FC236}">
                <a16:creationId xmlns:a16="http://schemas.microsoft.com/office/drawing/2014/main" id="{B21A425C-7C5F-5058-93AE-90F93365A6C0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4230688" y="44227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17DF9-CCED-461D-968B-9BE5AD04D7CB}" type="datetime'12''''''''''090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90</a:t>
            </a:fld>
            <a:endParaRPr kumimoji="1" lang="zh-CN" altLang="en-US" sz="1400" dirty="0"/>
          </a:p>
        </p:txBody>
      </p:sp>
      <p:sp useBgFill="1">
        <p:nvSpPr>
          <p:cNvPr id="973" name="Text Placeholder 2">
            <a:extLst>
              <a:ext uri="{FF2B5EF4-FFF2-40B4-BE49-F238E27FC236}">
                <a16:creationId xmlns:a16="http://schemas.microsoft.com/office/drawing/2014/main" id="{257B2D6F-2F9B-C071-7221-897FB5905F1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076825" y="47117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43894-8B82-489E-8D21-C33C647CF060}" type="datetime'''''''''''''''''1''''0''''''''''''''''51''5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15</a:t>
            </a:fld>
            <a:endParaRPr kumimoji="1" lang="zh-CN" altLang="en-US" sz="1400" dirty="0"/>
          </a:p>
        </p:txBody>
      </p:sp>
      <p:sp useBgFill="1">
        <p:nvSpPr>
          <p:cNvPr id="974" name="Text Placeholder 2">
            <a:extLst>
              <a:ext uri="{FF2B5EF4-FFF2-40B4-BE49-F238E27FC236}">
                <a16:creationId xmlns:a16="http://schemas.microsoft.com/office/drawing/2014/main" id="{CD66ADDD-F130-1D8F-267C-213CD1BDE4BF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967413" y="58943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400" dirty="0"/>
              <a:t>4083</a:t>
            </a:r>
            <a:endParaRPr kumimoji="1" lang="zh-CN" altLang="en-US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133C83F-60F7-442F-FB1F-EDFEE85575C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551238" y="5818188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4A0696-C7C4-4AD6-BFDC-A0516ECC01FC}" type="datetime'''''''''''8''''''''''''''''''''''''''''''''.''4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C319FD1A-3B89-317C-EF7D-DB81E808B624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35678506"/>
              </p:ext>
            </p:extLst>
          </p:nvPr>
        </p:nvGraphicFramePr>
        <p:xfrm>
          <a:off x="6454775" y="4651375"/>
          <a:ext cx="3143250" cy="228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cxnSp>
        <p:nvCxnSpPr>
          <p:cNvPr id="31" name="直线连接符 30">
            <a:extLst>
              <a:ext uri="{FF2B5EF4-FFF2-40B4-BE49-F238E27FC236}">
                <a16:creationId xmlns:a16="http://schemas.microsoft.com/office/drawing/2014/main" id="{1A24B3EB-606E-1FA7-4347-DCEAF4511245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 flipV="1">
            <a:off x="7529513" y="4927600"/>
            <a:ext cx="15875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线连接符 17">
            <a:extLst>
              <a:ext uri="{FF2B5EF4-FFF2-40B4-BE49-F238E27FC236}">
                <a16:creationId xmlns:a16="http://schemas.microsoft.com/office/drawing/2014/main" id="{5A769772-0D36-BDF5-650D-50956FE1C0CD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9482138" y="5159375"/>
            <a:ext cx="33337" cy="123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线连接符 31">
            <a:extLst>
              <a:ext uri="{FF2B5EF4-FFF2-40B4-BE49-F238E27FC236}">
                <a16:creationId xmlns:a16="http://schemas.microsoft.com/office/drawing/2014/main" id="{02E5B0A5-DCE8-8035-245F-05BA57B2BDD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H="1">
            <a:off x="8523288" y="5127625"/>
            <a:ext cx="3175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F8DE49EF-DFE7-B681-EF1C-7111856EDE8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380413" y="6761163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44007-9A0C-4EC3-8A0F-C6FBA8147F6F}" type="datetime'''''''''''''''''''''''''''''''''''''''''2''''''''.''''''''5%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7CDDD19B-437E-27BD-B83B-AE346D12FA09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7389813" y="4984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ADC80B-3E2A-466D-817C-0D2887B8A49A}" type="datetime'''''''''''1''''8''''''''''''''''''''''.''3''''''''''''''%'">
              <a:rPr lang="zh-CN" altLang="en-US" sz="1000" smtClean="0">
                <a:solidFill>
                  <a:schemeClr val="bg1"/>
                </a:solidFill>
              </a:rPr>
              <a:pPr/>
              <a:t>18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064D5CD5-7BD6-E8A6-8B2F-2932CF7B42DA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6334125" y="69484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67A9E-4D9D-4C32-BF10-C7EE2B6EAFC8}" type="datetime'''''''''m4''w''''''''''''''''''''''''''''3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18EAEE80-6CE3-3854-BFF8-EF7F6C7D407E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386638" y="50927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5AC250-56A1-4DF9-A619-C2414548DB33}" type="datetime'''''''''3.9''''''''''''''''''%''''''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23A4C884-7C93-47DD-4480-75BD3143C07E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618413" y="5832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82228C-39AD-442F-90F2-82B85AB18834}" type="datetime'''''''''''''''''6''''''''''''6''.''''0''''''''%'''">
              <a:rPr lang="zh-CN" altLang="en-US" sz="1000" smtClean="0">
                <a:solidFill>
                  <a:schemeClr val="bg1"/>
                </a:solidFill>
              </a:rPr>
              <a:pPr/>
              <a:t>6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DE658D7-9680-3621-21F9-1003F2AD7CF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353300" y="6656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4BC0F9-F8E2-4AF7-9857-23126424E343}" type="datetime'''''1''''''''1''''''''''.''''''''''''''''''''''''''''8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03295C03-7310-BE5A-488A-C7CB76FC06E2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7326313" y="69484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9675BC-4DD0-45F4-A8EF-E0C494684733}" type="datetime'''''''''''m4''''''''''''''''''w''''''''4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AAF72C66-FAB0-810C-2308-BB5932A835B4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380413" y="5205413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BD0017-B7E6-4ADD-81C5-867AFD9C0D77}" type="datetime'''''''''''''''''3''''''''.''''''''''''9''''''''''''''''%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1489F439-F2A5-09C9-56B9-3A0F5A795BD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8393113" y="5348288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EA20A3-A073-40E1-84B6-3C0274CD66BF}" type="datetime'''''''''''''''''''''''''''''2''''''''''''''''.5''%'''''''''''">
              <a:rPr lang="zh-CN" altLang="en-US" sz="1000" smtClean="0">
                <a:effectLst/>
              </a:rPr>
              <a:pPr/>
              <a:t>2.5%</a:t>
            </a:fld>
            <a:endParaRPr lang="zh-CN" altLang="en-US" sz="10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C1CEF78-F4FD-5E86-DD56-7139AE8C793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8402638" y="6127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51862B-CA88-4985-9785-EEA79B751C7A}" type="datetime'''9''''''''''''''''''1.''''''2''''''''''''%'''''''''''''''''">
              <a:rPr lang="zh-CN" altLang="en-US" sz="1000" smtClean="0">
                <a:solidFill>
                  <a:schemeClr val="bg1"/>
                </a:solidFill>
              </a:rPr>
              <a:pPr/>
              <a:t>91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FA6B5BAA-03D1-19AB-923F-4ACAF22C6366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6581775" y="6746875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154D1B-213D-4402-B91F-0CA502226A31}" type="datetime'''''''3''''''''''''''.''''''''''''''''''9%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675CDF48-473E-69F1-5702-F089BEC75A6B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8320088" y="69484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FB6CA-72B8-429F-9CFC-09D32BF92E6B}" type="datetime'''''''''''m''''''''''''''5''''''w''1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D9AA6CAD-5E62-4574-F6E7-F67E2755EBE5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9183688" y="5267325"/>
            <a:ext cx="287338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30CD20-01AF-4837-B061-45E0732D67F2}" type="datetime'''''''''''4''''''''.''''''''1''''''''''%'''''''''''''''''">
              <a:rPr lang="zh-CN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1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780101FC-3126-3CF3-02C6-8E1388046BA5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178925" y="541655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A9B758-4CEF-4B74-885F-FA66A5A7D856}" type="datetime'''4''''''''''''''''''''''''''''''''''.1''%'''''''''''''''">
              <a:rPr lang="zh-CN" altLang="en-US" sz="1000" smtClean="0">
                <a:effectLst/>
              </a:rPr>
              <a:pPr/>
              <a:t>4.1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1420EC3B-977E-7915-E9A3-ED5EC03933ED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9186863" y="6159500"/>
            <a:ext cx="352425" cy="136525"/>
          </a:xfrm>
          <a:prstGeom prst="rect">
            <a:avLst/>
          </a:prstGeom>
          <a:solidFill>
            <a:srgbClr val="4A76C6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094FE1-69C2-4A86-AB8C-B667C8323B50}" type="datetime'''''''''''88''''''.8''''''''''%'''''''''">
              <a:rPr lang="zh-CN" altLang="en-US" sz="1000" smtClean="0">
                <a:solidFill>
                  <a:schemeClr val="bg1"/>
                </a:solidFill>
                <a:effectLst/>
              </a:rPr>
              <a:pPr/>
              <a:t>88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50397B8D-5608-995F-3509-13FF8714828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9183688" y="6757988"/>
            <a:ext cx="287338" cy="136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48A65-96BF-4CCE-A40A-FD9123A5B4A4}" type="datetime'''3''''''''.''0''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ECFB3422-B734-B232-C6DA-1D8C0E57CFDF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9312275" y="69484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8A7BF-B0EF-46F3-9880-3BC0A15C2E0C}" type="datetime'''''''''''''''''''''m5w''2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DC715257-DE88-27DA-2DD1-EE811C9DAEFB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6337300" y="47847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70B7BA-AFAD-4606-927B-048C9D0D543A}" type="datetime'''''1''''''''''7''''''''''''''''''''''''''7''7'''''">
              <a:rPr kumimoji="1" lang="zh-CN" altLang="en-US" sz="1400" smtClean="0"/>
              <a:pPr/>
              <a:t>1777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F138094E-C7E0-FC5A-0132-10304A3AA9CE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7323138" y="45196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BB6993-DEC3-4615-96E5-C6CBD9CE79C8}" type="datetime'''''''''''''2''''''''''17''''''1'''">
              <a:rPr kumimoji="1" lang="zh-CN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1</a:t>
            </a:fld>
            <a:endParaRPr kumimoji="1" lang="zh-CN" altLang="en-US" sz="1400" dirty="0"/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54530071-F9FB-8511-B54E-E92D3EF5C454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8323263" y="493553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F1AC08-924C-41DC-A2D3-6757F7DD92B5}" type="datetime'''''''''''''''1''''''6''''''''''''''''''5''''''0'''''">
              <a:rPr kumimoji="1" lang="zh-CN" altLang="en-US" sz="1400" smtClean="0"/>
              <a:pPr/>
              <a:t>1650</a:t>
            </a:fld>
            <a:endParaRPr kumimoji="1" lang="zh-CN" altLang="en-US" sz="1400" dirty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7757AA1A-1BBC-9077-6CAA-4E3AF3C7C976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6581775" y="6042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0707E7-76CF-40F5-AD61-FEB770903791}" type="datetime'''''''''7''''''7''''''''''''''''''''.''''''''''''''''''5''%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352A5BF5-8547-7E99-2FD5-559F05A56AD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9248775" y="49672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076D2C-CE6A-431B-B15C-D42BBEFCC4D8}" type="datetime'''''''1''''''''''''5''''''''''''85'''''''''''''''''''''''''">
              <a:rPr kumimoji="1" lang="zh-CN" altLang="en-US" sz="1400" smtClean="0"/>
              <a:pPr/>
              <a:t>1585</a:t>
            </a:fld>
            <a:endParaRPr kumimoji="1" lang="zh-CN" altLang="en-US" sz="14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506C998F-AD3B-C0C9-B361-F1B68D5B9C4D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6581775" y="5330825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1DF76D-38B1-4DC9-A3C2-35A9364D02B0}" type="datetime'''''4''''''''''''''''''''''''''''''.6''''''%''''''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6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6EA2B359-2653-6F5A-2E0A-08C0F066195C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6581775" y="5170488"/>
            <a:ext cx="352425" cy="136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D27BE3-AC8A-4A9E-BC36-E019FF8D19EC}" type="datetime'''''''''''1''''3''''''''.9''''''%'''''''''''''">
              <a:rPr lang="zh-CN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8E3BA73C-265D-1827-B2D2-5C2E8EB67C51}"/>
              </a:ext>
            </a:extLst>
          </p:cNvPr>
          <p:cNvGraphicFramePr/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146152763"/>
              </p:ext>
            </p:extLst>
          </p:nvPr>
        </p:nvGraphicFramePr>
        <p:xfrm>
          <a:off x="10044113" y="4543425"/>
          <a:ext cx="5975350" cy="250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340FED5A-89DE-2ACC-4B1F-7BD0660A63B1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4120813" y="589915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EF143916-BA44-2DC5-C050-48274E8C5378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2668250" y="5653088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79C4265A-E336-B751-558B-64293E4BBC6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10490200" y="6099175"/>
            <a:ext cx="0" cy="396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E4B7CE74-7140-5E27-D67D-D4882F16389B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10490200" y="60198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6" name="直线连接符 875">
            <a:extLst>
              <a:ext uri="{FF2B5EF4-FFF2-40B4-BE49-F238E27FC236}">
                <a16:creationId xmlns:a16="http://schemas.microsoft.com/office/drawing/2014/main" id="{7C679A0F-7CCF-CCA8-1C77-23E9EFCEFFD9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 flipH="1">
            <a:off x="15587663" y="6121400"/>
            <a:ext cx="41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1" name="文本占位符 2">
            <a:extLst>
              <a:ext uri="{FF2B5EF4-FFF2-40B4-BE49-F238E27FC236}">
                <a16:creationId xmlns:a16="http://schemas.microsoft.com/office/drawing/2014/main" id="{A49F0C34-B431-7982-832B-82ED07E2D2D3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13912850" y="4775200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A8692F-368F-4235-962F-23C347496155}" type="datetime'''''''1''''''''''''2''7''''''''''''.''0''''''''%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7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6" name="文本占位符 2">
            <a:extLst>
              <a:ext uri="{FF2B5EF4-FFF2-40B4-BE49-F238E27FC236}">
                <a16:creationId xmlns:a16="http://schemas.microsoft.com/office/drawing/2014/main" id="{DFCC5D28-8149-8FC1-971C-6D630CAFF09C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11734800" y="4437063"/>
            <a:ext cx="417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259541-6109-416F-B003-9086180B620A}" type="datetime'1''''''''''''''''''55''.''''''''0''''''''''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5.0%</a:t>
            </a:fld>
            <a:endParaRPr lang="zh-CN" altLang="en-US" sz="1000" dirty="0"/>
          </a:p>
        </p:txBody>
      </p:sp>
      <p:sp>
        <p:nvSpPr>
          <p:cNvPr id="577" name="文本占位符 2">
            <a:extLst>
              <a:ext uri="{FF2B5EF4-FFF2-40B4-BE49-F238E27FC236}">
                <a16:creationId xmlns:a16="http://schemas.microsoft.com/office/drawing/2014/main" id="{0E30618D-2819-E0C8-667C-B8C9D4B06B1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1799888" y="64881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79ABB2-E2FE-4DCF-A7EE-D11B30B40CB8}" type="datetime'''''5''''''.''''''''''''''''0%''''''''''''''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%</a:t>
            </a:fld>
            <a:endParaRPr lang="zh-CN" altLang="en-US" sz="1000" dirty="0"/>
          </a:p>
        </p:txBody>
      </p:sp>
      <p:sp>
        <p:nvSpPr>
          <p:cNvPr id="819" name="文本占位符 2">
            <a:extLst>
              <a:ext uri="{FF2B5EF4-FFF2-40B4-BE49-F238E27FC236}">
                <a16:creationId xmlns:a16="http://schemas.microsoft.com/office/drawing/2014/main" id="{4F2F6820-2E1B-AE3C-6C70-3E3F9D3D0C43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1766550" y="6126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93B61C-3A78-4409-8797-1B0FF48F9895}" type="datetime'''''''''''''''''3''''''''''''''''5.''0''''''%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DF6A454D-1BAD-D24A-5124-B5334CEE435A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11657013" y="7023100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A588F-8E4A-4187-949A-C38549230B34}" type="datetime'''''F''Y''''2''''6Q''''4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kumimoji="1" lang="zh-CN" altLang="en-US" sz="1400" dirty="0"/>
          </a:p>
        </p:txBody>
      </p:sp>
      <p:sp useBgFill="1">
        <p:nvSpPr>
          <p:cNvPr id="580" name="文本占位符 2">
            <a:extLst>
              <a:ext uri="{FF2B5EF4-FFF2-40B4-BE49-F238E27FC236}">
                <a16:creationId xmlns:a16="http://schemas.microsoft.com/office/drawing/2014/main" id="{AA541A55-991C-615A-AAFA-7CBAF121D4EE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12492038" y="5516563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5D571C-9D65-41AC-AB71-508A8E9E63F1}" type="datetime'''''''''''''''6''''''5''''''.''''''''''4''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4%</a:t>
            </a:fld>
            <a:endParaRPr lang="zh-CN" altLang="en-US" sz="1000" dirty="0"/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3CC96BB6-C542-638D-67EC-78D5F7C7E43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12382500" y="7023100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DEF9C-F873-43BA-98A6-F8A340C70A46}" type="datetime'''''''F''''''Y''''''2''''7''''''''''Q''''''1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kumimoji="1" lang="zh-CN" altLang="en-US" sz="1400" dirty="0"/>
          </a:p>
        </p:txBody>
      </p:sp>
      <p:sp>
        <p:nvSpPr>
          <p:cNvPr id="688" name="Text Placeholder 2">
            <a:extLst>
              <a:ext uri="{FF2B5EF4-FFF2-40B4-BE49-F238E27FC236}">
                <a16:creationId xmlns:a16="http://schemas.microsoft.com/office/drawing/2014/main" id="{0BC07154-45EB-0068-0E84-E345CDD8915F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13255625" y="70231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21C71-B0EF-46DC-AAD2-B6EC5299B5BB}" type="datetime'''''''''''''''''''''''''''''2''''''''''''''''''''''''月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kumimoji="1" lang="zh-CN" altLang="en-US" sz="1400" dirty="0"/>
          </a:p>
        </p:txBody>
      </p:sp>
      <p:sp useBgFill="1">
        <p:nvSpPr>
          <p:cNvPr id="866" name="文本占位符 2">
            <a:extLst>
              <a:ext uri="{FF2B5EF4-FFF2-40B4-BE49-F238E27FC236}">
                <a16:creationId xmlns:a16="http://schemas.microsoft.com/office/drawing/2014/main" id="{ADB41C92-756A-CEDF-99E1-EB2CA5B9DA1B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13944600" y="576262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B56E84-9647-4876-A9B7-F141F6B55283}" type="datetime'''''4''''''''''''''''''''''''5''''''''''''''.''''''''0%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69" name="文本占位符 2">
            <a:extLst>
              <a:ext uri="{FF2B5EF4-FFF2-40B4-BE49-F238E27FC236}">
                <a16:creationId xmlns:a16="http://schemas.microsoft.com/office/drawing/2014/main" id="{AF1E9923-458A-9BB2-9F2F-43DA40FAF49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1996738" y="5859463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9D5208-C0D5-4933-8F3A-A83EEB6487A9}" type="datetime'4''''''''''''''7.''''''0''''''''''''''''''''''%'''">
              <a:rPr lang="zh-CN" altLang="en-US" sz="1000" smtClean="0">
                <a:effectLst/>
              </a:rPr>
              <a:pPr/>
              <a:t>47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 useBgFill="1">
        <p:nvSpPr>
          <p:cNvPr id="816" name="文本占位符 2">
            <a:extLst>
              <a:ext uri="{FF2B5EF4-FFF2-40B4-BE49-F238E27FC236}">
                <a16:creationId xmlns:a16="http://schemas.microsoft.com/office/drawing/2014/main" id="{D68BABB8-1C39-1762-5AC4-7BFF5900955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3944600" y="6210300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E5F454-5118-4454-A16D-E9BF6CFC62DF}" type="datetime'2''''''''''8''''.''''''''''''''''''''''''''0''%'''''''''''">
              <a:rPr lang="zh-CN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689" name="Text Placeholder 2">
            <a:extLst>
              <a:ext uri="{FF2B5EF4-FFF2-40B4-BE49-F238E27FC236}">
                <a16:creationId xmlns:a16="http://schemas.microsoft.com/office/drawing/2014/main" id="{9FC439A9-1D6A-E8D9-5D2F-D2DFEE858412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3981113" y="70231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4F02B-3DA1-45D6-A717-6DA51CC74E30}" type="datetime'3''''''''''''月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kumimoji="1" lang="zh-CN" altLang="en-US" sz="1400" dirty="0"/>
          </a:p>
        </p:txBody>
      </p:sp>
      <p:sp>
        <p:nvSpPr>
          <p:cNvPr id="690" name="Text Placeholder 2">
            <a:extLst>
              <a:ext uri="{FF2B5EF4-FFF2-40B4-BE49-F238E27FC236}">
                <a16:creationId xmlns:a16="http://schemas.microsoft.com/office/drawing/2014/main" id="{299CB7AD-C0A1-4271-55EF-B49C578A6C14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4708188" y="7023100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33F3D-624B-4D57-90D2-DBB3770DDB8C}" type="datetime'4''月''''''''''''''''''''''''''''''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kumimoji="1" lang="zh-CN" altLang="en-US" sz="1400" dirty="0"/>
          </a:p>
        </p:txBody>
      </p:sp>
      <p:sp>
        <p:nvSpPr>
          <p:cNvPr id="864" name="文本占位符 2">
            <a:extLst>
              <a:ext uri="{FF2B5EF4-FFF2-40B4-BE49-F238E27FC236}">
                <a16:creationId xmlns:a16="http://schemas.microsoft.com/office/drawing/2014/main" id="{89E09919-36B2-6B96-E278-D20600871881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5628938" y="6046788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995E00-7CFF-49D4-8164-256E50FB68C0}" type="datetime'''''31''''''''''''''.''''''''0''''''''''''''''''''''%'''''''''">
              <a:rPr lang="zh-CN" altLang="en-US" sz="1100" smtClean="0"/>
              <a:pPr/>
              <a:t>31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40CB10B2-3829-8FC7-65BB-7BD24F7BE197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10929938" y="7023100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7B25C-C796-4AC7-97AB-FB08461DCEE4}" type="datetime'FY''2''''''''''''''''6''''''''''Q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kumimoji="1" lang="zh-CN" altLang="en-US" sz="1400" dirty="0"/>
          </a:p>
        </p:txBody>
      </p:sp>
      <p:sp>
        <p:nvSpPr>
          <p:cNvPr id="744" name="文本占位符 2">
            <a:extLst>
              <a:ext uri="{FF2B5EF4-FFF2-40B4-BE49-F238E27FC236}">
                <a16:creationId xmlns:a16="http://schemas.microsoft.com/office/drawing/2014/main" id="{D888C37F-9EA3-16BB-150A-FA5199F5A3A4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5628938" y="6637338"/>
            <a:ext cx="4333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AF1E79-8E4F-4EBB-8606-BEC59D1447F8}" type="datetime'''-''''''1''''''''''''''''8.''''''''''''''0''''''''''%'''''">
              <a:rPr lang="zh-CN" altLang="en-US" sz="1100" smtClean="0"/>
              <a:pPr/>
              <a:t>-18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745" name="文本占位符 2">
            <a:extLst>
              <a:ext uri="{FF2B5EF4-FFF2-40B4-BE49-F238E27FC236}">
                <a16:creationId xmlns:a16="http://schemas.microsoft.com/office/drawing/2014/main" id="{66E4B8A8-B03F-B787-0C30-47AB797D41E8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15378113" y="5445125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0638" tIns="0" rIns="206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87C329-83B3-49B9-8112-096F5BEC692B}" type="datetime'''''7''''''''0''''''''.''0''''%'''''">
              <a:rPr lang="zh-CN" altLang="en-US" sz="11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 useBgFill="1">
        <p:nvSpPr>
          <p:cNvPr id="821" name="文本占位符 2">
            <a:extLst>
              <a:ext uri="{FF2B5EF4-FFF2-40B4-BE49-F238E27FC236}">
                <a16:creationId xmlns:a16="http://schemas.microsoft.com/office/drawing/2014/main" id="{C792DAA6-C60D-BBB5-9817-8D10FF91A4C7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15378113" y="6224588"/>
            <a:ext cx="390525" cy="150813"/>
          </a:xfrm>
          <a:prstGeom prst="rect">
            <a:avLst/>
          </a:prstGeom>
          <a:ln>
            <a:noFill/>
          </a:ln>
          <a:effectLst/>
        </p:spPr>
        <p:txBody>
          <a:bodyPr vert="horz" wrap="none" lIns="20638" tIns="0" rIns="206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EABAD-4B71-4392-8BD7-F65767B9DD95}" type="datetime'''''''''''''''2''7.''''''''''''''0''''''''''''''''''''''%'''">
              <a:rPr lang="zh-CN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0%</a:t>
            </a:fld>
            <a:endParaRPr lang="zh-CN" altLang="en-US" sz="1100" dirty="0">
              <a:ea typeface="等线" panose="02010600030101010101" pitchFamily="2" charset="-122"/>
            </a:endParaRPr>
          </a:p>
        </p:txBody>
      </p:sp>
      <p:sp>
        <p:nvSpPr>
          <p:cNvPr id="691" name="Text Placeholder 2">
            <a:extLst>
              <a:ext uri="{FF2B5EF4-FFF2-40B4-BE49-F238E27FC236}">
                <a16:creationId xmlns:a16="http://schemas.microsoft.com/office/drawing/2014/main" id="{875696B4-CC2E-C6E7-4D9F-702FEB8150D1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5287625" y="7023100"/>
            <a:ext cx="573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752D72-0E5B-478D-B182-951398789295}" type="datetime'''5''''''月''''''''''''''m''''''''''''''''t''d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kumimoji="1" lang="zh-CN" altLang="en-US" sz="1400" dirty="0"/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94F4977-0C36-0C82-DA1F-5D9E52AAE82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0204450" y="7023100"/>
            <a:ext cx="571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FE2E1-D849-4334-AEF0-BC3F35E1A7BE}" type="datetime'''''''''''''''F''Y''''''''''''''''''''2''''''''''6''''''''Q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kumimoji="1" lang="zh-CN" altLang="en-US" sz="1400" dirty="0"/>
          </a:p>
        </p:txBody>
      </p:sp>
      <p:sp>
        <p:nvSpPr>
          <p:cNvPr id="822" name="文本占位符 2">
            <a:extLst>
              <a:ext uri="{FF2B5EF4-FFF2-40B4-BE49-F238E27FC236}">
                <a16:creationId xmlns:a16="http://schemas.microsoft.com/office/drawing/2014/main" id="{E30449F0-D68E-73EF-8E2A-D72EDD338AD5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10313988" y="6175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69FB65-3222-4F17-8D45-7C979B6CB685}" type="datetime'''''''''''''''''''''3''''''1''''''''''''''''.''0%''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1" name="文本占位符 2">
            <a:extLst>
              <a:ext uri="{FF2B5EF4-FFF2-40B4-BE49-F238E27FC236}">
                <a16:creationId xmlns:a16="http://schemas.microsoft.com/office/drawing/2014/main" id="{DC1012AA-973C-5D8D-6F5B-3330ECBAAC0C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0313988" y="58467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88086A-09F5-4713-98E7-EE652AC93C01}" type="datetime'''''''''''3''''''8''''.''''0''''''''''''''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0%</a:t>
            </a:fld>
            <a:endParaRPr lang="zh-CN" altLang="en-US" sz="1000" dirty="0"/>
          </a:p>
        </p:txBody>
      </p:sp>
      <p:sp>
        <p:nvSpPr>
          <p:cNvPr id="570" name="文本占位符 2">
            <a:extLst>
              <a:ext uri="{FF2B5EF4-FFF2-40B4-BE49-F238E27FC236}">
                <a16:creationId xmlns:a16="http://schemas.microsoft.com/office/drawing/2014/main" id="{23802A83-647B-F2EE-5A15-0D0C430901CB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10313988" y="6138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EAFB6E-C36E-4CB2-B074-08E12A549FD6}" type="datetime'''''''''''''''3''''''''''''4''''''''.''0%''''''''''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0%</a:t>
            </a:fld>
            <a:endParaRPr lang="zh-CN" altLang="en-US" sz="1000" dirty="0"/>
          </a:p>
        </p:txBody>
      </p:sp>
      <p:sp useBgFill="1">
        <p:nvSpPr>
          <p:cNvPr id="871" name="文本占位符 2">
            <a:extLst>
              <a:ext uri="{FF2B5EF4-FFF2-40B4-BE49-F238E27FC236}">
                <a16:creationId xmlns:a16="http://schemas.microsoft.com/office/drawing/2014/main" id="{E4BB2999-B3C3-2471-401F-3128F0A1C329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10313988" y="5883275"/>
            <a:ext cx="35242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A636B3-1B94-445A-894F-A7F959F37B1B}" type="datetime'''''''''''''''''''3''''''5.0''''''''''''''''''''''''''%'">
              <a:rPr lang="zh-CN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cxnSp>
        <p:nvCxnSpPr>
          <p:cNvPr id="774" name="直线连接符 773">
            <a:extLst>
              <a:ext uri="{FF2B5EF4-FFF2-40B4-BE49-F238E27FC236}">
                <a16:creationId xmlns:a16="http://schemas.microsoft.com/office/drawing/2014/main" id="{77221941-F785-C42F-60F1-D62EB5D7F230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10274300" y="7912100"/>
            <a:ext cx="514350" cy="0"/>
          </a:xfrm>
          <a:prstGeom prst="line">
            <a:avLst/>
          </a:prstGeom>
          <a:ln w="28575" cap="rnd" cmpd="sng" algn="ctr">
            <a:solidFill>
              <a:srgbClr val="E9163C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6" name="直线连接符 775">
            <a:extLst>
              <a:ext uri="{FF2B5EF4-FFF2-40B4-BE49-F238E27FC236}">
                <a16:creationId xmlns:a16="http://schemas.microsoft.com/office/drawing/2014/main" id="{99E7B2E6-E070-88BF-6D74-726C24228982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11503025" y="7912100"/>
            <a:ext cx="51435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7" name="直线连接符 776">
            <a:extLst>
              <a:ext uri="{FF2B5EF4-FFF2-40B4-BE49-F238E27FC236}">
                <a16:creationId xmlns:a16="http://schemas.microsoft.com/office/drawing/2014/main" id="{CC7ABF84-6626-7825-ECCC-3DA2CDE17D45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12909550" y="7912100"/>
            <a:ext cx="514350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8" name="直线连接符 777">
            <a:extLst>
              <a:ext uri="{FF2B5EF4-FFF2-40B4-BE49-F238E27FC236}">
                <a16:creationId xmlns:a16="http://schemas.microsoft.com/office/drawing/2014/main" id="{1925DCB8-34B5-F227-B884-FF59353B4A0F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14316075" y="7912100"/>
            <a:ext cx="51435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C426315E-4471-2BB2-690D-C06BC4B37C94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0853738" y="782955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EF11D8-BA90-4F08-B478-C0EC4A9520FE}" type="datetime'''''''''''总''''''''''''''''收入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总收入</a:t>
            </a:fld>
            <a:endParaRPr kumimoji="1" lang="zh-CN" altLang="en-US" sz="1400" dirty="0"/>
          </a:p>
        </p:txBody>
      </p:sp>
      <p:sp>
        <p:nvSpPr>
          <p:cNvPr id="771" name="Text Placeholder 2">
            <a:extLst>
              <a:ext uri="{FF2B5EF4-FFF2-40B4-BE49-F238E27FC236}">
                <a16:creationId xmlns:a16="http://schemas.microsoft.com/office/drawing/2014/main" id="{26CFCE57-96DA-5D66-3BA7-39FD6FA263B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2082463" y="7829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8CFB11-32D0-47B3-B042-8B3839D643CB}" type="datetime'新''''''''''''签''''''''''''''''年''''''''''''''费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770" name="Text Placeholder 2">
            <a:extLst>
              <a:ext uri="{FF2B5EF4-FFF2-40B4-BE49-F238E27FC236}">
                <a16:creationId xmlns:a16="http://schemas.microsoft.com/office/drawing/2014/main" id="{88AE6E3E-4363-3D15-C3E5-39DCC983D744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3488988" y="7829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2D7C3E-65F2-40C9-A0BC-4918A08EBA01}" type="datetime'''续''''签''''''''''''年''''费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772" name="Text Placeholder 2">
            <a:extLst>
              <a:ext uri="{FF2B5EF4-FFF2-40B4-BE49-F238E27FC236}">
                <a16:creationId xmlns:a16="http://schemas.microsoft.com/office/drawing/2014/main" id="{333F7E60-2ACE-EBDF-7A56-C2F693620AF3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4895513" y="78295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EDD938-DB99-4B9C-90D8-93F000B7E5C8}" type="datetime'''''''''效''果''''''广''''''''''''''''''''''告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效果广告</a:t>
            </a:fld>
            <a:endParaRPr kumimoji="1" lang="zh-CN" altLang="en-US" sz="1400" dirty="0"/>
          </a:p>
        </p:txBody>
      </p:sp>
      <p:sp>
        <p:nvSpPr>
          <p:cNvPr id="849" name="矩形 848">
            <a:extLst>
              <a:ext uri="{FF2B5EF4-FFF2-40B4-BE49-F238E27FC236}">
                <a16:creationId xmlns:a16="http://schemas.microsoft.com/office/drawing/2014/main" id="{41033BF5-6292-78FB-D653-8406347DCB09}"/>
              </a:ext>
            </a:extLst>
          </p:cNvPr>
          <p:cNvSpPr/>
          <p:nvPr>
            <p:custDataLst>
              <p:tags r:id="rId120"/>
            </p:custDataLst>
          </p:nvPr>
        </p:nvSpPr>
        <p:spPr bwMode="auto">
          <a:xfrm>
            <a:off x="2468563" y="7754938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0" name="矩形 849">
            <a:extLst>
              <a:ext uri="{FF2B5EF4-FFF2-40B4-BE49-F238E27FC236}">
                <a16:creationId xmlns:a16="http://schemas.microsoft.com/office/drawing/2014/main" id="{DF99946A-CFD9-BCA4-B346-7199C0C88D80}"/>
              </a:ext>
            </a:extLst>
          </p:cNvPr>
          <p:cNvSpPr/>
          <p:nvPr>
            <p:custDataLst>
              <p:tags r:id="rId121"/>
            </p:custDataLst>
          </p:nvPr>
        </p:nvSpPr>
        <p:spPr bwMode="auto">
          <a:xfrm>
            <a:off x="3582988" y="775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1" name="矩形 850">
            <a:extLst>
              <a:ext uri="{FF2B5EF4-FFF2-40B4-BE49-F238E27FC236}">
                <a16:creationId xmlns:a16="http://schemas.microsoft.com/office/drawing/2014/main" id="{5013EEA4-568C-CCFD-A977-847FA7C4831C}"/>
              </a:ext>
            </a:extLst>
          </p:cNvPr>
          <p:cNvSpPr/>
          <p:nvPr>
            <p:custDataLst>
              <p:tags r:id="rId122"/>
            </p:custDataLst>
          </p:nvPr>
        </p:nvSpPr>
        <p:spPr bwMode="auto">
          <a:xfrm>
            <a:off x="4697413" y="7754938"/>
            <a:ext cx="250825" cy="187325"/>
          </a:xfrm>
          <a:prstGeom prst="rect">
            <a:avLst/>
          </a:prstGeom>
          <a:solidFill>
            <a:srgbClr val="4975C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2" name="矩形 851">
            <a:extLst>
              <a:ext uri="{FF2B5EF4-FFF2-40B4-BE49-F238E27FC236}">
                <a16:creationId xmlns:a16="http://schemas.microsoft.com/office/drawing/2014/main" id="{2B58537A-71BB-84F9-F36F-A94933E78871}"/>
              </a:ext>
            </a:extLst>
          </p:cNvPr>
          <p:cNvSpPr/>
          <p:nvPr>
            <p:custDataLst>
              <p:tags r:id="rId123"/>
            </p:custDataLst>
          </p:nvPr>
        </p:nvSpPr>
        <p:spPr bwMode="auto">
          <a:xfrm>
            <a:off x="5811838" y="775493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058248DF-A873-1EE7-4312-25E330F0DD0C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277018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30E-C285-468C-B250-8336F932E3B3}" type="datetime'''''新''''''''''签''''''''''年''费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新签年费</a:t>
            </a:fld>
            <a:endParaRPr kumimoji="1" lang="zh-CN" altLang="en-US" sz="1400" dirty="0"/>
          </a:p>
        </p:txBody>
      </p:sp>
      <p:sp>
        <p:nvSpPr>
          <p:cNvPr id="845" name="Text Placeholder 2">
            <a:extLst>
              <a:ext uri="{FF2B5EF4-FFF2-40B4-BE49-F238E27FC236}">
                <a16:creationId xmlns:a16="http://schemas.microsoft.com/office/drawing/2014/main" id="{632FA693-24BA-E562-B7D3-1EA8A2D29B05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388461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CFAA98-307B-4274-AFA8-83442821725F}" type="datetime'续''''''''''''''''签''''''''年费''''''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续签年费</a:t>
            </a:fld>
            <a:endParaRPr kumimoji="1" lang="zh-CN" altLang="en-US" sz="1400" dirty="0"/>
          </a:p>
        </p:txBody>
      </p:sp>
      <p:sp>
        <p:nvSpPr>
          <p:cNvPr id="846" name="Text Placeholder 2">
            <a:extLst>
              <a:ext uri="{FF2B5EF4-FFF2-40B4-BE49-F238E27FC236}">
                <a16:creationId xmlns:a16="http://schemas.microsoft.com/office/drawing/2014/main" id="{8168F6FE-4810-2085-E7E5-07DBB28859B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4999038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zh-CN" altLang="en-US" sz="1400" dirty="0"/>
              <a:t>效果广告</a:t>
            </a: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C53B803D-60D5-1991-9181-360A2FB7887B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6113463" y="776605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D0D4DF-8496-43ED-B18A-C4FF904B873B}" type="datetime'''''品''牌''''''''''''''''''''''广''''''告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品牌广告</a:t>
            </a:fld>
            <a:endParaRPr kumimoji="1" lang="zh-CN" altLang="en-US" sz="1400" dirty="0"/>
          </a:p>
        </p:txBody>
      </p:sp>
      <p:sp>
        <p:nvSpPr>
          <p:cNvPr id="928" name="文本框 927">
            <a:extLst>
              <a:ext uri="{FF2B5EF4-FFF2-40B4-BE49-F238E27FC236}">
                <a16:creationId xmlns:a16="http://schemas.microsoft.com/office/drawing/2014/main" id="{BD28E050-1FE1-AFCA-F1C9-1D085BC3A7B6}"/>
              </a:ext>
            </a:extLst>
          </p:cNvPr>
          <p:cNvSpPr txBox="1"/>
          <p:nvPr/>
        </p:nvSpPr>
        <p:spPr>
          <a:xfrm>
            <a:off x="3448824" y="3649663"/>
            <a:ext cx="30059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收入结构占比及总额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3505329F-E2F7-783B-986D-EE46F8144BD3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收入结构</a:t>
            </a:r>
            <a:r>
              <a:rPr kumimoji="1" lang="en-US" altLang="zh-CN" sz="2000" b="1" dirty="0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1E68F2C-59B9-3217-AD2E-9BCEA7BA2A6F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69BAD82-CC84-6A9F-0770-544153E9086E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90D2FDB1-D630-7DF4-2EC2-A8775AE16372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F92758FE-B95A-A7DA-A53E-738BCA9049CD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00D58418-F142-3C7F-A87D-33A2C0F9C19A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3E2AE17D-AA2F-FBB8-9C14-B0AAABEFB33E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3FB2C0DE-A993-A70C-A248-557FC8BBF3BF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F81947FA-35D3-0263-BE57-EFB9A4D14798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7AFE27D9-6FE1-87AE-C464-5C389D6F6E8C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567E9695-8CF7-68E9-9F30-D533DF2431C2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id="{1468D285-1891-C9BA-675D-A5F69CCF2518}"/>
              </a:ext>
            </a:extLst>
          </p:cNvPr>
          <p:cNvPicPr>
            <a:picLocks noChangeAspect="1"/>
          </p:cNvPicPr>
          <p:nvPr/>
        </p:nvPicPr>
        <p:blipFill>
          <a:blip r:embed="rId136"/>
          <a:stretch>
            <a:fillRect/>
          </a:stretch>
        </p:blipFill>
        <p:spPr>
          <a:xfrm>
            <a:off x="16522700" y="4229100"/>
            <a:ext cx="4897486" cy="329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894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F03AF-03C5-677B-6714-53F7999AF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0A01008-F5DD-A058-7356-9678D2A6A0A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747392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0" imgW="7772400" imgH="10058400" progId="TCLayout.ActiveDocument.1">
                  <p:embed/>
                </p:oleObj>
              </mc:Choice>
              <mc:Fallback>
                <p:oleObj name="think-cell 幻灯片" r:id="rId1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8" name="表格 187">
            <a:extLst>
              <a:ext uri="{FF2B5EF4-FFF2-40B4-BE49-F238E27FC236}">
                <a16:creationId xmlns:a16="http://schemas.microsoft.com/office/drawing/2014/main" id="{953F9E55-C38B-332D-BA89-8D3C032AE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078929"/>
              </p:ext>
            </p:extLst>
          </p:nvPr>
        </p:nvGraphicFramePr>
        <p:xfrm>
          <a:off x="300368" y="2783567"/>
          <a:ext cx="21143251" cy="5697768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6040100">
                  <a:extLst>
                    <a:ext uri="{9D8B030D-6E8A-4147-A177-3AD203B41FA5}">
                      <a16:colId xmlns:a16="http://schemas.microsoft.com/office/drawing/2014/main" val="2852459811"/>
                    </a:ext>
                  </a:extLst>
                </a:gridCol>
                <a:gridCol w="5103151">
                  <a:extLst>
                    <a:ext uri="{9D8B030D-6E8A-4147-A177-3AD203B41FA5}">
                      <a16:colId xmlns:a16="http://schemas.microsoft.com/office/drawing/2014/main" val="3922117519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完成趋势</a:t>
                      </a:r>
                      <a:r>
                        <a:rPr lang="en-US" altLang="zh-CN" dirty="0"/>
                        <a:t>by</a:t>
                      </a:r>
                      <a:r>
                        <a:rPr lang="zh-CN" altLang="en-US" dirty="0">
                          <a:solidFill>
                            <a:schemeClr val="accent2"/>
                          </a:solidFill>
                        </a:rPr>
                        <a:t>渠道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Q&amp;M&amp;W)</a:t>
                      </a:r>
                      <a:r>
                        <a:rPr lang="zh-CN" altLang="en-US" dirty="0"/>
                        <a:t>      </a:t>
                      </a:r>
                      <a:r>
                        <a:rPr lang="zh-CN" altLang="en-US" sz="2400" dirty="0"/>
                        <a:t>截止</a:t>
                      </a:r>
                      <a:r>
                        <a:rPr lang="en-US" altLang="zh-CN" sz="2400" dirty="0"/>
                        <a:t>0517</a:t>
                      </a:r>
                      <a:endParaRPr lang="zh-CN" altLang="en-US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  </a:t>
                      </a:r>
                      <a:r>
                        <a:rPr lang="en-US" altLang="zh-CN" dirty="0"/>
                        <a:t>YOY</a:t>
                      </a:r>
                      <a:r>
                        <a:rPr lang="zh-CN" altLang="en-US" dirty="0"/>
                        <a:t>达成情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41524394"/>
                  </a:ext>
                </a:extLst>
              </a:tr>
              <a:tr h="5031018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dk1">
                            <a:alpha val="98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65294"/>
                  </a:ext>
                </a:extLst>
              </a:tr>
            </a:tbl>
          </a:graphicData>
        </a:graphic>
      </p:graphicFrame>
      <p:sp>
        <p:nvSpPr>
          <p:cNvPr id="928" name="文本框 927">
            <a:extLst>
              <a:ext uri="{FF2B5EF4-FFF2-40B4-BE49-F238E27FC236}">
                <a16:creationId xmlns:a16="http://schemas.microsoft.com/office/drawing/2014/main" id="{F93E0E1D-F336-2B83-E8D7-BF459CBE39C4}"/>
              </a:ext>
            </a:extLst>
          </p:cNvPr>
          <p:cNvSpPr txBox="1"/>
          <p:nvPr/>
        </p:nvSpPr>
        <p:spPr>
          <a:xfrm>
            <a:off x="3649776" y="3637697"/>
            <a:ext cx="3312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低频分渠道收入趋势</a:t>
            </a:r>
            <a:r>
              <a:rPr kumimoji="1" lang="en-US" altLang="zh-CN" sz="2000" b="1" dirty="0"/>
              <a:t>&amp;</a:t>
            </a:r>
            <a:r>
              <a:rPr kumimoji="1" lang="zh-CN" altLang="en-US" sz="2000" b="1" dirty="0"/>
              <a:t>占比</a:t>
            </a:r>
          </a:p>
        </p:txBody>
      </p:sp>
      <p:sp>
        <p:nvSpPr>
          <p:cNvPr id="980" name="文本框 979">
            <a:extLst>
              <a:ext uri="{FF2B5EF4-FFF2-40B4-BE49-F238E27FC236}">
                <a16:creationId xmlns:a16="http://schemas.microsoft.com/office/drawing/2014/main" id="{B2A87388-C508-6B93-E0FB-A8E05772D84A}"/>
              </a:ext>
            </a:extLst>
          </p:cNvPr>
          <p:cNvSpPr txBox="1"/>
          <p:nvPr/>
        </p:nvSpPr>
        <p:spPr>
          <a:xfrm>
            <a:off x="12068175" y="3616325"/>
            <a:ext cx="1844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/>
              <a:t>分渠道收入</a:t>
            </a:r>
            <a:r>
              <a:rPr kumimoji="1" lang="en-US" altLang="zh-CN" sz="2000" b="1" dirty="0" err="1"/>
              <a:t>yoy</a:t>
            </a:r>
            <a:endParaRPr kumimoji="1" lang="zh-CN" altLang="en-US" sz="2000" b="1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8E01341-87C2-05C3-AFE1-C5A4C70B9108}"/>
              </a:ext>
            </a:extLst>
          </p:cNvPr>
          <p:cNvSpPr txBox="1"/>
          <p:nvPr/>
        </p:nvSpPr>
        <p:spPr>
          <a:xfrm>
            <a:off x="1146175" y="7354888"/>
            <a:ext cx="1031875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754D43D-61DB-4B3F-6619-B7046DDE9242}"/>
              </a:ext>
            </a:extLst>
          </p:cNvPr>
          <p:cNvSpPr txBox="1"/>
          <p:nvPr/>
        </p:nvSpPr>
        <p:spPr>
          <a:xfrm>
            <a:off x="4448175" y="7307263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95EBD70-6CF0-73F6-A48B-CDA28E47E8B3}"/>
              </a:ext>
            </a:extLst>
          </p:cNvPr>
          <p:cNvSpPr txBox="1"/>
          <p:nvPr/>
        </p:nvSpPr>
        <p:spPr>
          <a:xfrm>
            <a:off x="7545388" y="7315200"/>
            <a:ext cx="1030288" cy="260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36" name="直线连接符 135">
            <a:extLst>
              <a:ext uri="{FF2B5EF4-FFF2-40B4-BE49-F238E27FC236}">
                <a16:creationId xmlns:a16="http://schemas.microsoft.com/office/drawing/2014/main" id="{4FB60646-5545-FB73-B8D0-E4C3D5427A50}"/>
              </a:ext>
            </a:extLst>
          </p:cNvPr>
          <p:cNvCxnSpPr>
            <a:cxnSpLocks/>
          </p:cNvCxnSpPr>
          <p:nvPr/>
        </p:nvCxnSpPr>
        <p:spPr>
          <a:xfrm>
            <a:off x="3427413" y="4446649"/>
            <a:ext cx="0" cy="29987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3600FE64-0488-5B30-376D-93D98DD5F33D}"/>
              </a:ext>
            </a:extLst>
          </p:cNvPr>
          <p:cNvCxnSpPr>
            <a:cxnSpLocks/>
          </p:cNvCxnSpPr>
          <p:nvPr/>
        </p:nvCxnSpPr>
        <p:spPr>
          <a:xfrm>
            <a:off x="6345570" y="4498862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329326FF-F9E4-2DB5-CCFD-0DF39BDFB603}"/>
              </a:ext>
            </a:extLst>
          </p:cNvPr>
          <p:cNvSpPr txBox="1"/>
          <p:nvPr/>
        </p:nvSpPr>
        <p:spPr>
          <a:xfrm>
            <a:off x="18147846" y="3643313"/>
            <a:ext cx="1632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/>
              <a:t>YOY</a:t>
            </a:r>
            <a:r>
              <a:rPr kumimoji="1" lang="zh-CN" altLang="en-US" sz="2000" b="1" dirty="0"/>
              <a:t>达成情况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A6254B29-65F9-8724-8E35-90ACA5A7F47E}"/>
              </a:ext>
            </a:extLst>
          </p:cNvPr>
          <p:cNvSpPr txBox="1"/>
          <p:nvPr/>
        </p:nvSpPr>
        <p:spPr>
          <a:xfrm>
            <a:off x="10972800" y="732313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季度变化趋势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88261F41-7DBC-EF34-B826-03268589E4A8}"/>
              </a:ext>
            </a:extLst>
          </p:cNvPr>
          <p:cNvSpPr txBox="1"/>
          <p:nvPr/>
        </p:nvSpPr>
        <p:spPr>
          <a:xfrm>
            <a:off x="14113436" y="7284478"/>
            <a:ext cx="1030288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chemeClr val="accent2"/>
                </a:solidFill>
                <a:latin typeface="Yuanti SC" panose="02010600040101010101" pitchFamily="2" charset="-122"/>
                <a:ea typeface="Yuanti SC" panose="02010600040101010101" pitchFamily="2" charset="-122"/>
              </a:rPr>
              <a:t>月度变化趋势</a:t>
            </a:r>
          </a:p>
        </p:txBody>
      </p:sp>
      <p:cxnSp>
        <p:nvCxnSpPr>
          <p:cNvPr id="164" name="直线连接符 163">
            <a:extLst>
              <a:ext uri="{FF2B5EF4-FFF2-40B4-BE49-F238E27FC236}">
                <a16:creationId xmlns:a16="http://schemas.microsoft.com/office/drawing/2014/main" id="{5781C4BB-3F24-7F47-D5A2-BBDBED55D93B}"/>
              </a:ext>
            </a:extLst>
          </p:cNvPr>
          <p:cNvCxnSpPr>
            <a:cxnSpLocks/>
          </p:cNvCxnSpPr>
          <p:nvPr/>
        </p:nvCxnSpPr>
        <p:spPr>
          <a:xfrm>
            <a:off x="13120875" y="4446587"/>
            <a:ext cx="0" cy="300037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椭圆 214">
            <a:extLst>
              <a:ext uri="{FF2B5EF4-FFF2-40B4-BE49-F238E27FC236}">
                <a16:creationId xmlns:a16="http://schemas.microsoft.com/office/drawing/2014/main" id="{9681BE5F-1354-905C-AB3A-C2FC0DAF3B0F}"/>
              </a:ext>
            </a:extLst>
          </p:cNvPr>
          <p:cNvSpPr/>
          <p:nvPr/>
        </p:nvSpPr>
        <p:spPr>
          <a:xfrm>
            <a:off x="15499194" y="5580146"/>
            <a:ext cx="445147" cy="2887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C5668816-7709-7801-8038-E2548DFBF0B6}"/>
              </a:ext>
            </a:extLst>
          </p:cNvPr>
          <p:cNvSpPr/>
          <p:nvPr/>
        </p:nvSpPr>
        <p:spPr>
          <a:xfrm>
            <a:off x="15563612" y="6086049"/>
            <a:ext cx="445168" cy="254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19" name="直线连接符 218">
            <a:extLst>
              <a:ext uri="{FF2B5EF4-FFF2-40B4-BE49-F238E27FC236}">
                <a16:creationId xmlns:a16="http://schemas.microsoft.com/office/drawing/2014/main" id="{8F0D58CF-AB7A-DF0B-8607-6E1A56DFC340}"/>
              </a:ext>
            </a:extLst>
          </p:cNvPr>
          <p:cNvCxnSpPr>
            <a:cxnSpLocks/>
          </p:cNvCxnSpPr>
          <p:nvPr/>
        </p:nvCxnSpPr>
        <p:spPr>
          <a:xfrm>
            <a:off x="16323105" y="2814638"/>
            <a:ext cx="0" cy="53496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DF3BC7AC-E89F-5669-E910-DB221AC7314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329165"/>
              </p:ext>
            </p:extLst>
          </p:nvPr>
        </p:nvGraphicFramePr>
        <p:xfrm>
          <a:off x="574675" y="4600575"/>
          <a:ext cx="2686050" cy="241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A6704DE-31C5-EE48-0C0B-5DFE71CE380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01675" y="5278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A8B608-C1F8-4D2D-A752-34F615AFBB24}" type="datetime'''''31''.''''''''''''''2%'''''''''''''''''''''''''''''''">
              <a:rPr lang="en-US" altLang="en-US" sz="1000" smtClean="0">
                <a:ea typeface="等线" panose="02010600030101010101" pitchFamily="2" charset="-122"/>
              </a:rPr>
              <a:pPr/>
              <a:t>31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992403-0DA2-6D5F-56C0-040DA0C474B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01675" y="62230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71EAC3-C0ED-4169-B0E1-94CFB0B89B6B}" type="datetime'6''''''''''''''''7.2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B3130634-092E-6CD5-E179-7AA71A61BE0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07988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ACF3B4-5D11-4FF6-A6CA-B31BCAD037D2}" type="datetime'F''''''Y''''''''26''''''''''''Q''''''''2'''''''''''''''">
              <a:rPr lang="en-GB" altLang="en-US" sz="1200" b="1" smtClean="0"/>
              <a:pPr/>
              <a:t>FY26Q2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670847-499C-2090-2332-A2F5515A834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6200" y="4967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08EED4-CAF0-4D31-87A0-ECCB95801865}" type="datetime'''''''''1''''''''''''''''''''''.''''''''''''8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C6E3ADB-D94B-4293-7B6C-6E414542410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0800" y="52228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C788C-7AFB-423D-BA8C-1773B4F7B1B6}" type="datetime'''''''''''''3''''1.''''3%'''''">
              <a:rPr lang="en-US" altLang="en-US" sz="1000" smtClean="0">
                <a:ea typeface="等线" panose="02010600030101010101" pitchFamily="2" charset="-122"/>
              </a:rPr>
              <a:pPr/>
              <a:t>31.3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E6E206-D7BA-4760-6034-5B9B482751C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0800" y="62007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24B0A4-4974-4197-9444-9CC10D9C6094}" type="datetime'''''''''''''''''''6''''''''''''''6''''''''''''''.9''''''''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0E7A0CBD-E166-E7D4-5786-C475DFCB0CF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47775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09F20F-DFB8-47AD-805B-BB5DD0C3FD19}" type="datetime'F''''''''Y''''''''''''''''''''''2''''''6''''''''Q3'">
              <a:rPr lang="en-GB" altLang="en-US" sz="1200" b="1" smtClean="0"/>
              <a:pPr/>
              <a:t>FY26Q3</a:t>
            </a:fld>
            <a:endParaRPr lang="zh-CN" altLang="en-US" sz="12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B5350D7-7994-1320-AA5C-28E13BF53D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89163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F80F40-C84E-4384-8B89-EF1B66925C74}" type="datetime'''''''''1.''''''''''''''''''''7''%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0AC25B-82A0-59BE-D87C-54F17296D05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62175" y="523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688FA8-0E93-4EF9-9C35-7CD53E8AA117}" type="datetime'''3''''''4''''''''''''''''''''''.''''''1''%'''''">
              <a:rPr lang="en-US" altLang="en-US" sz="1000" smtClean="0">
                <a:ea typeface="等线" panose="02010600030101010101" pitchFamily="2" charset="-122"/>
              </a:rPr>
              <a:pPr/>
              <a:t>34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F20F936-1D5A-EF97-D063-53412DFECB0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46100" y="5018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DBCB4-68CB-41E9-822E-FB8C2B1FD398}" type="datetime'''''1.''''''''''''''''''''6''%''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6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E68F49FA-B112-8E8A-CB82-022399727B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89150" y="69865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60367-DCF1-42E5-9FFC-0D00827A2889}" type="datetime'''''''''''FY2''6''''Q''''''''''''''''''''''''''4'''">
              <a:rPr lang="en-GB" altLang="en-US" sz="1200" b="1" smtClean="0"/>
              <a:pPr/>
              <a:t>FY26Q4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842B2F-9C97-9E52-EF3E-4EAF05D975D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944813" y="5772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7FAD70-2E43-4EBD-B7D0-F125CA4A9B2B}" type="datetime'''''''''1''.''''''''9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F36BB9-6D81-E87F-BE39-D81722122AA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74963" y="595630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0A1E76-450A-4FDC-BF50-491ACCAC83F4}" type="datetime'''3''''''''''''''''''''''1''''''.''''''''''''''''''''6%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1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77B48D-4532-6D81-EEFA-C7E4704E110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81300" y="6470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389C54-5F92-448C-9E1D-BE525245FF64}" type="datetime'6''''''6''''''''''''''''''''''.''''5''''''''%''''''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27" name="文本占位符 2">
            <a:extLst>
              <a:ext uri="{FF2B5EF4-FFF2-40B4-BE49-F238E27FC236}">
                <a16:creationId xmlns:a16="http://schemas.microsoft.com/office/drawing/2014/main" id="{9100BF36-0F22-3774-E62F-60F5F816156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62263" y="69865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7DB57-C163-4F5B-BE23-E97DA545EF65}" type="datetime'''''''''''''''F''''Y''''''''''27''Q''''''''1td'''''''">
              <a:rPr lang="en-GB" altLang="en-US" sz="1200" b="1" smtClean="0">
                <a:ea typeface="等线" panose="02010600030101010101" pitchFamily="2" charset="-122"/>
              </a:rPr>
              <a:pPr/>
              <a:t>FY27Q1td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26F8AF-6338-7EBA-5A82-423F5F49995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06400" y="48021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28221-B01C-4A4A-B7A6-A0CC2A2BDE0A}" type="datetime'''''''''''''''''2''''''''''''5''''''5''''''6''''''''8'''''''">
              <a:rPr kumimoji="1" lang="zh-CN" altLang="en-US" sz="1400" smtClean="0"/>
              <a:pPr/>
              <a:t>25568</a:t>
            </a:fld>
            <a:endParaRPr kumimoji="1" lang="zh-CN" altLang="en-US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34E47AD-8A63-5F45-D426-B6844643F12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46188" y="47291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AB1253-E1C2-4817-8187-FB8060F60AF5}" type="datetime'26''''''''5''''''''''3''''4'''''''''''''''''''''">
              <a:rPr kumimoji="1" lang="zh-CN" altLang="en-US" sz="1400" smtClean="0"/>
              <a:pPr/>
              <a:t>26534</a:t>
            </a:fld>
            <a:endParaRPr kumimoji="1" lang="zh-CN" altLang="en-US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A3454C3-C249-D325-B8A8-1C423B4455C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87563" y="47164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ABC857-B29E-4C81-B526-D7F356851B9D}" type="datetime'''''''''''''''''''''''''''''2''''6''''''''''''''70''''''6'''">
              <a:rPr kumimoji="1" lang="zh-CN" altLang="en-US" sz="1400" smtClean="0"/>
              <a:pPr/>
              <a:t>26706</a:t>
            </a:fld>
            <a:endParaRPr kumimoji="1" lang="zh-CN" altLang="en-US" sz="1400" dirty="0"/>
          </a:p>
        </p:txBody>
      </p:sp>
      <p:sp useBgFill="1">
        <p:nvSpPr>
          <p:cNvPr id="31" name="Text Placeholder 2">
            <a:extLst>
              <a:ext uri="{FF2B5EF4-FFF2-40B4-BE49-F238E27FC236}">
                <a16:creationId xmlns:a16="http://schemas.microsoft.com/office/drawing/2014/main" id="{D25FBBA5-836A-3DC2-F0D6-249DF2533D8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927350" y="55245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1F75A2-63F8-4EE8-B388-85D0774D7112}" type="datetime'''''''''''''''''''1''''''''''59''3''''''''6'''''''''''">
              <a:rPr kumimoji="1" lang="zh-CN" altLang="en-US" sz="1400" smtClean="0">
                <a:effectLst/>
              </a:rPr>
              <a:pPr/>
              <a:t>15936</a:t>
            </a:fld>
            <a:endParaRPr kumimoji="1" lang="zh-CN" alt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9B8C432-5AB9-B524-FD1A-0886D2015F0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62175" y="6224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368A9-682A-4E42-9AB3-A901473248D0}" type="datetime'64''''''''''''''''''''''''''.''''''''''2''''%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4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38120B3-C423-729B-700F-0BE10B490577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000500" y="79819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E432AB2-15C8-9C19-F321-CA90D781653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59325" y="79819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98F42187-5846-621C-711E-2404BD330C0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18150" y="798195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5DCBD9F-B88A-0079-3973-E86A46DADD1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30212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6CBDA9-93F8-4988-8790-F8D675855080}" type="datetime'''''''电''''销''''''''''''''''''''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7C01C8E-62B2-F952-671C-E00CAF9F311C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060950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F26A78-5480-4B13-9753-01F1FB1292CF}" type="datetime'''''''''''渠''''道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D012AA1-3377-3818-FD5F-ECC74CBD603A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819775" y="799306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CBDE65-158B-40C5-9C64-6CEB253F37BF}" type="datetime'''''''''直''''''''''''''''''''''''''''''''''''营'''''">
              <a:rPr kumimoji="1" lang="zh-CN" altLang="en-US" sz="1400" smtClean="0"/>
              <a:pPr/>
              <a:t>直营</a:t>
            </a:fld>
            <a:endParaRPr kumimoji="1" lang="zh-CN" altLang="en-US" sz="1400" dirty="0"/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4D06155E-A893-F2DE-71CF-4FA6B77F8DE3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00500830"/>
              </p:ext>
            </p:extLst>
          </p:nvPr>
        </p:nvGraphicFramePr>
        <p:xfrm>
          <a:off x="3563938" y="4814888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89EF81C-0989-82F7-2CB4-1C9004A08E4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584575" y="62722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0F6F07-BBDC-4FAC-BAD0-CB8DC1F8AFFB}" type="datetime'''3''''''2''''''''.''''''''''''0''''''''''''%'''''''''''''">
              <a:rPr lang="en-US" altLang="en-US" sz="1000" smtClean="0">
                <a:effectLst/>
                <a:ea typeface="等线" panose="02010600030101010101" pitchFamily="2" charset="-122"/>
              </a:rPr>
              <a:pPr/>
              <a:t>32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71CD0E0-8BE6-6169-BEEF-C27281BD4C5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690938" y="657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81B3-1302-42A0-9CCB-578606E79FD0}" type="datetime'''''''6''6''''''''''''.''''''''''3''''''''''''%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6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8F0CB097-C20C-3247-66CB-D7BFDBBE75E7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525838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98F734-2B36-4E95-95D0-9D9712BB924F}" type="datetime'''''''''''''''''''''''''''2''''''''''''''''''''月'''''">
              <a:rPr lang="zh-CN" altLang="en-US" sz="1200" b="1" smtClean="0"/>
              <a:pPr/>
              <a:t>2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83370FC-E209-74F1-BB90-B3A2EE884B3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298950" y="49736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30380D-B27E-4685-A1BE-6780FA70E718}" type="datetime'''''''''''1''''''''''''''''''''''''''''''''.8''''%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0C4463B-3B91-7ED0-9DDB-DF9E16EDB3A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295775" y="5370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81DED4-B964-40CD-8F34-2F13940A8135}" type="datetime'''''''''''''''''''''3''''''''''''''''''3''.''''''7%'''''">
              <a:rPr lang="en-US" altLang="en-US" sz="1000" smtClean="0">
                <a:ea typeface="等线" panose="02010600030101010101" pitchFamily="2" charset="-122"/>
              </a:rPr>
              <a:pPr/>
              <a:t>33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CE0D7CD-B803-DB0A-D3F6-178032E22BB4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278313" y="62103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2924-2A62-44E4-A4B8-1BC7358D0168}" type="datetime'''''''''6''''4.''''5''''''''''''''''''''''''''''''%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4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D77CA0B0-7892-8479-D1BD-EEA9FD7E47B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333875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C6CC9F-8BBF-4A3A-A87B-F830A80C4AA2}" type="datetime'''3''''''''''''''''''''''''月'">
              <a:rPr lang="zh-CN" altLang="en-US" sz="1200" b="1" smtClean="0"/>
              <a:pPr/>
              <a:t>3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2AF5C59-7F75-BE99-0CEF-36A09241CE3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18100" y="52117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6BECD9-A9D6-4E4E-8440-1B9B2F39CBE5}" type="datetime'''''''''''1''.''''''''''''''''''9''''''''''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047D625-30F7-682A-4DCA-2AE223F7FDB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087938" y="5534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D8F009-9C47-4FBB-9527-B563E9FFA3F3}" type="datetime'3''2''''.''''''''''9''''''''%'''''''''''''''''''">
              <a:rPr lang="en-US" altLang="en-US" sz="1000" smtClean="0">
                <a:ea typeface="等线" panose="02010600030101010101" pitchFamily="2" charset="-122"/>
              </a:rPr>
              <a:pPr/>
              <a:t>32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B00C870-823A-F30E-77F6-D3638BE881E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690938" y="6000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1938BA-CA4B-4A71-9C89-EB46E9006A6F}" type="datetime'''''''''''''1''.''''''''''7''''''''''''''''''%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7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12A76B99-D199-9545-8831-AC13F0E57390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5141913" y="698658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65505-11F2-4CDA-88AE-760EC6DAF9FE}" type="datetime'''''4''''''''''''''''''''''''月'">
              <a:rPr lang="zh-CN" altLang="en-US" sz="1200" b="1" smtClean="0"/>
              <a:pPr/>
              <a:t>4月</a:t>
            </a:fld>
            <a:endParaRPr lang="zh-CN" altLang="en-US" sz="1200" b="1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FF8466C-3F39-3C84-BE18-A01FB4295A0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738813" y="59642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738169-BC8B-4E47-B6DE-3D84BE04188E}" type="datetime'''''''2''''''''''''.''''''''''''''''''0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392E1B9-A754-8C5D-19D8-A35F5047EEDA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673725" y="61055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309F63-97FE-4C84-A350-FAF830342405}" type="datetime'''''''''''''''''''''2''''''''''''''9.''''0''''''%'''">
              <a:rPr lang="en-US" altLang="en-US" sz="1000" smtClean="0">
                <a:effectLst/>
                <a:ea typeface="等线" panose="02010600030101010101" pitchFamily="2" charset="-122"/>
              </a:rPr>
              <a:pPr/>
              <a:t>29.0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3C30A1B-2DBB-67EE-15CA-18AFEEBF6AD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673725" y="6553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4D9D58-2FCB-48A0-A7DE-63AE9D27CBE1}" type="datetime'''''''''''''6''9''''''''''''''''''''.''0''''''''''''''''%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9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58" name="文本占位符 2">
            <a:extLst>
              <a:ext uri="{FF2B5EF4-FFF2-40B4-BE49-F238E27FC236}">
                <a16:creationId xmlns:a16="http://schemas.microsoft.com/office/drawing/2014/main" id="{ED9CF126-E767-515C-DE63-987D223BB8E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883275" y="6986588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E25C49-0500-4716-AE62-5F51F2506183}" type="datetime'5''月t''''''''''''''''''''d'''''''''''''''''''''''''''''''">
              <a:rPr lang="zh-CN" altLang="en-US" sz="1200" b="1" smtClean="0"/>
              <a:pPr/>
              <a:t>5月td</a:t>
            </a:fld>
            <a:endParaRPr lang="zh-CN" altLang="en-US" sz="1200" b="1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7E513178-5C83-E868-06AD-3E56B0DF1392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3440113" y="58467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5E6B65-1D6C-4A83-875C-AAFBA47ED966}" type="datetime'5''''''''''''''''''''1''''''92'''''''''">
              <a:rPr kumimoji="1" lang="zh-CN" altLang="en-US" sz="1400" smtClean="0">
                <a:effectLst/>
              </a:rPr>
              <a:pPr/>
              <a:t>5192</a:t>
            </a:fld>
            <a:endParaRPr kumimoji="1" lang="zh-CN" altLang="en-US" sz="14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3E0C24-8551-3ECD-3E33-5555BE82F651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203700" y="468312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5AC2D-C791-4758-BF0B-DFD7B06127AB}" type="datetime'1''''''''''''''''''''''''''''''''''''2''''''''''''''''1''''00'">
              <a:rPr kumimoji="1" lang="zh-CN" altLang="en-US" sz="1400" smtClean="0"/>
              <a:pPr/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E64BC236-5D26-D74F-521F-D0573723ED2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011738" y="494982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4712F-C598-448C-9509-33368637DEAC}" type="datetime'''''1''''''''''''''''''''''''''''0''''''''''''''''''5''20'''''">
              <a:rPr kumimoji="1" lang="zh-CN" altLang="en-US" sz="1400" smtClean="0">
                <a:effectLst/>
              </a:rPr>
              <a:pPr/>
              <a:t>10520</a:t>
            </a:fld>
            <a:endParaRPr kumimoji="1" lang="zh-CN" altLang="en-US" sz="1400" dirty="0"/>
          </a:p>
        </p:txBody>
      </p:sp>
      <p:sp useBgFill="1">
        <p:nvSpPr>
          <p:cNvPr id="129" name="Text Placeholder 2">
            <a:extLst>
              <a:ext uri="{FF2B5EF4-FFF2-40B4-BE49-F238E27FC236}">
                <a16:creationId xmlns:a16="http://schemas.microsoft.com/office/drawing/2014/main" id="{290AD6A4-B79E-4CE1-CE6C-9894CD211F07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5864225" y="58086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E1983B-2FF6-41F8-92CD-3D71ADF19A48}" type="datetime'''''''''''''5''''''4''''''''''''''1''''''''''''''6'''''''''''">
              <a:rPr kumimoji="1" lang="zh-CN" altLang="en-US" sz="1400" smtClean="0">
                <a:effectLst/>
              </a:rPr>
              <a:pPr/>
              <a:t>5416</a:t>
            </a:fld>
            <a:endParaRPr kumimoji="1" lang="zh-CN" altLang="en-US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6AEA529-53C0-7C9E-6303-171D4EE7396E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086350" y="6289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DE2F93-5BA1-4001-9DDE-1C22D3D51215}" type="datetime'''''''6''''5''''.''''''''''''''''''''''2''''''''''''''%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5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E0792A8E-3798-AC20-CFD9-58E301A5D1BD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864211662"/>
              </p:ext>
            </p:extLst>
          </p:nvPr>
        </p:nvGraphicFramePr>
        <p:xfrm>
          <a:off x="6410325" y="4814888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cxnSp>
        <p:nvCxnSpPr>
          <p:cNvPr id="134" name="直线连接符 133">
            <a:extLst>
              <a:ext uri="{FF2B5EF4-FFF2-40B4-BE49-F238E27FC236}">
                <a16:creationId xmlns:a16="http://schemas.microsoft.com/office/drawing/2014/main" id="{72D5280F-8048-310A-1698-7F2A79817264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8281988" y="5364163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59FC15-511A-B226-1E70-F3F799AEF9F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537325" y="6307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FAB5DE-C2E9-4B42-94B4-DD96F2A170B4}" type="datetime'''''''''''''''63''.''''''''1''''''''''''''''''''''%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3.1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7" name="文本占位符 2">
            <a:extLst>
              <a:ext uri="{FF2B5EF4-FFF2-40B4-BE49-F238E27FC236}">
                <a16:creationId xmlns:a16="http://schemas.microsoft.com/office/drawing/2014/main" id="{75A0FE3E-B59D-BEA2-E4B6-C3FE202C6892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289675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45D00-F677-41D2-AD45-F0099BFA06C3}" type="datetime'''''''m''''''4''''''''''w''''''3'''''">
              <a:rPr lang="en-GB" altLang="en-US" sz="1200" b="1" smtClean="0">
                <a:ea typeface="等线" panose="02010600030101010101" pitchFamily="2" charset="-122"/>
              </a:rPr>
              <a:pPr/>
              <a:t>m4w3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FD1FFF51-5BD0-4C05-207B-1892E5016F61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7246938" y="49704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850C1F-CBAD-4DCC-A0D0-BAA5EBA26406}" type="datetime'''1''''''''''''''''''.''''''''''''''''5''''''''%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1.5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0543B9F-ADF3-57BE-DF77-6DCF72ABF52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227888" y="5414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8FCC64-E057-4E12-A17B-25F0D0AD85C1}" type="datetime'''''''''''''''''''3''''''''''''8.6''''''''''''''''''''''%'">
              <a:rPr lang="en-US" altLang="en-US" sz="1000" smtClean="0">
                <a:ea typeface="等线" panose="02010600030101010101" pitchFamily="2" charset="-122"/>
              </a:rPr>
              <a:pPr/>
              <a:t>38.6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0631504-A3A2-9D0D-B221-2AD26F90EB9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210425" y="62579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E72DA5-961B-4158-8AB3-601C39D77BF1}" type="datetime'''5''9''''''.''''9''''''''''''''''%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59.9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1" name="文本占位符 2">
            <a:extLst>
              <a:ext uri="{FF2B5EF4-FFF2-40B4-BE49-F238E27FC236}">
                <a16:creationId xmlns:a16="http://schemas.microsoft.com/office/drawing/2014/main" id="{9F0E5EBF-1FEE-80BE-31B2-94F434C098E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718343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2B6598-BA81-401F-B728-1E17F3320E24}" type="datetime'''''''''''m''''''''''4''''''''''w''''''''''''''4'">
              <a:rPr lang="en-GB" altLang="en-US" sz="1200" b="1" smtClean="0">
                <a:ea typeface="等线" panose="02010600030101010101" pitchFamily="2" charset="-122"/>
              </a:rPr>
              <a:pPr/>
              <a:t>m4w4</a:t>
            </a:fld>
            <a:endParaRPr lang="zh-CN" altLang="en-US" sz="1200" b="1" dirty="0">
              <a:ea typeface="等线" panose="02010600030101010101" pitchFamily="2" charset="-122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BD05E2E0-79DD-46BB-4993-0EF02E8568CE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139113" y="54435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A39EC1-6402-450D-8DD8-014EFC4F4035}" type="datetime'''''''''''''''''''2''''''''''''''.''''''''1%'''''''''''''''">
              <a:rPr lang="en-US" altLang="en-US" sz="1000" smtClean="0">
                <a:ea typeface="等线" panose="02010600030101010101" pitchFamily="2" charset="-122"/>
              </a:rPr>
              <a:pPr/>
              <a:t>2.1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A7FC6D96-C0FE-7DB4-10E5-D8C4330269D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537325" y="54371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3A2B39-3DA6-47A1-891A-876605D403B3}" type="datetime'''''''''''''''''''''''''34''''''''''''''''.''''''9''''%'''''''">
              <a:rPr lang="en-US" altLang="en-US" sz="1000" smtClean="0">
                <a:ea typeface="等线" panose="02010600030101010101" pitchFamily="2" charset="-122"/>
              </a:rPr>
              <a:pPr/>
              <a:t>34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5FAD3138-FD06-4A02-4FD1-26AD65D7B466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8107363" y="565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F26CDB-639F-4781-AACF-19324215E272}" type="datetime'''''''''''''''2''9''''''''''''''''''''.''''''''2''''''%'''''">
              <a:rPr lang="en-US" altLang="en-US" sz="1000" smtClean="0">
                <a:ea typeface="等线" panose="02010600030101010101" pitchFamily="2" charset="-122"/>
              </a:rPr>
              <a:pPr/>
              <a:t>29.2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6D6950D-B81F-68EF-2CDE-1509BB725F77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6537325" y="51085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3105C-77C9-438D-B22C-4D053E1F66AF}" type="datetime'''''''''''''''2''''''''.''''''''''''''''''0''''''%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0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6E88B2CB-FBF8-932F-5852-78303B5A6E2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8078788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F95C89-20D4-48C2-9474-09AAF129237D}" type="datetime'''''''''''''''m''5''''''w''''''''''''''''''''1'''''''''''''">
              <a:rPr lang="en-GB" altLang="en-US" sz="1200" b="1" smtClean="0"/>
              <a:pPr/>
              <a:t>m5w1</a:t>
            </a:fld>
            <a:endParaRPr lang="zh-CN" altLang="en-US" sz="12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11173B7B-B463-A1CF-1A81-6CA36F48BC53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923338" y="53721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5DBE07-E0BF-4F33-917C-851773786D0D}" type="datetime'''2''''''''''''''''''.''''''''''2%'''''''''''''''''''''">
              <a:rPr lang="en-US" altLang="en-US" sz="1000" smtClean="0">
                <a:solidFill>
                  <a:schemeClr val="bg1"/>
                </a:solidFill>
                <a:effectLst/>
                <a:ea typeface="等线" panose="02010600030101010101" pitchFamily="2" charset="-122"/>
              </a:rPr>
              <a:pPr/>
              <a:t>2.2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D0000666-678C-1A64-7676-CAC26F90F237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778875" y="5570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7D06C8-3182-4893-8C31-A35490BA2217}" type="datetime'''''''''''3''''''0''''''''.''''7''''''''''''''''%'''">
              <a:rPr lang="en-US" altLang="en-US" sz="1000" smtClean="0">
                <a:ea typeface="等线" panose="02010600030101010101" pitchFamily="2" charset="-122"/>
              </a:rPr>
              <a:pPr/>
              <a:t>30.7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3FC6A4CE-2290-96D7-DDAA-E735802DAEC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778875" y="63404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FF37B-CA6C-45EE-99DD-349A1E97938C}" type="datetime'6''''''''''''''''''7''''''''''''.''1''''%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.1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2D1AC344-60A1-58FC-CBEE-7EC554CA6CE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8972550" y="6986588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127EA-5D98-443B-90E7-8F173712C993}" type="datetime'''''''''''''''''''''''''''''''''''m''''''''5''''w''2'''">
              <a:rPr lang="en-GB" altLang="en-US" sz="1200" b="1" smtClean="0"/>
              <a:pPr/>
              <a:t>m5w2</a:t>
            </a:fld>
            <a:endParaRPr lang="zh-CN" altLang="en-US" sz="1200" b="1" dirty="0"/>
          </a:p>
        </p:txBody>
      </p:sp>
      <p:sp useBgFill="1">
        <p:nvSpPr>
          <p:cNvPr id="154" name="Text Placeholder 2">
            <a:extLst>
              <a:ext uri="{FF2B5EF4-FFF2-40B4-BE49-F238E27FC236}">
                <a16:creationId xmlns:a16="http://schemas.microsoft.com/office/drawing/2014/main" id="{C088C8DC-03B4-96DA-566B-6107FD02C970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6286500" y="4945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4276D-2505-4A95-B1D8-B71EE82ADFCC}" type="datetime'''''''''24''''''''''''''7''''''''''0'''''''''''''''''">
              <a:rPr kumimoji="1" lang="zh-CN" altLang="en-US" sz="1400" smtClean="0">
                <a:effectLst/>
              </a:rPr>
              <a:pPr/>
              <a:t>2470</a:t>
            </a:fld>
            <a:endParaRPr kumimoji="1" lang="zh-CN" altLang="en-US" sz="140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54977805-2F91-4A13-AD23-58FA6968F5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7180263" y="46831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CE465-80A2-4E5B-9A12-40AE7F9150BD}" type="datetime'''2''''''''''''''''''8''''''34'">
              <a:rPr kumimoji="1" lang="zh-CN" altLang="en-US" sz="1400" smtClean="0"/>
              <a:pPr/>
              <a:t>2834</a:t>
            </a:fld>
            <a:endParaRPr kumimoji="1" lang="zh-CN" altLang="en-US" sz="1400" dirty="0"/>
          </a:p>
        </p:txBody>
      </p:sp>
      <p:sp useBgFill="1">
        <p:nvSpPr>
          <p:cNvPr id="156" name="Text Placeholder 2">
            <a:extLst>
              <a:ext uri="{FF2B5EF4-FFF2-40B4-BE49-F238E27FC236}">
                <a16:creationId xmlns:a16="http://schemas.microsoft.com/office/drawing/2014/main" id="{F4533E4A-78F5-C07F-EFBC-CBCE3AC6CD4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8075613" y="51339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DF6BB-00DD-4C10-8105-5F240190281A}" type="datetime'''''''''''''''2''''''''''''''''''2''0''''''''''''''8'">
              <a:rPr kumimoji="1" lang="zh-CN" altLang="en-US" sz="1400" smtClean="0">
                <a:effectLst/>
              </a:rPr>
              <a:pPr/>
              <a:t>2208</a:t>
            </a:fld>
            <a:endParaRPr kumimoji="1" lang="zh-CN" altLang="en-US" sz="14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A50556E-1215-B2E1-8926-BCAB759A6472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969375" y="51482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E3F6AF-AA96-459A-B47A-62392F0794AD}" type="datetime'''''''''2''''''1''''''8''''''''7'''''''''''''''">
              <a:rPr kumimoji="1" lang="zh-CN" altLang="en-US" sz="1400" smtClean="0"/>
              <a:pPr/>
              <a:t>2187</a:t>
            </a:fld>
            <a:endParaRPr kumimoji="1" lang="zh-CN" altLang="en-US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7677DEC-FA21-2C12-6557-FDCBFEABD566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8105775" y="63214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30CEC-A250-4189-8AF1-C6B2F4CB1F4F}" type="datetime'''''''''''''6''''''8''''''''''''''''''''''.8''''''%'''''''''">
              <a:rPr lang="en-US" altLang="en-US" sz="10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8.8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257" name="Chart 3">
            <a:extLst>
              <a:ext uri="{FF2B5EF4-FFF2-40B4-BE49-F238E27FC236}">
                <a16:creationId xmlns:a16="http://schemas.microsoft.com/office/drawing/2014/main" id="{3BCD2177-4BCF-D3FF-7086-A0C2CBD74D06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131575792"/>
              </p:ext>
            </p:extLst>
          </p:nvPr>
        </p:nvGraphicFramePr>
        <p:xfrm>
          <a:off x="9804400" y="4645025"/>
          <a:ext cx="6450013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5"/>
          </a:graphicData>
        </a:graphic>
      </p:graphicFrame>
      <p:cxnSp>
        <p:nvCxnSpPr>
          <p:cNvPr id="184" name="直线连接符 183">
            <a:extLst>
              <a:ext uri="{FF2B5EF4-FFF2-40B4-BE49-F238E27FC236}">
                <a16:creationId xmlns:a16="http://schemas.microsoft.com/office/drawing/2014/main" id="{AEFA3D66-39CF-4855-2231-F24E31D8269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H="1">
            <a:off x="11079163" y="56562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BB5B389-2FD4-046D-CB28-5682EB7F1F83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10101263" y="58642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7C93D-A682-485C-B053-2710482C26BF}" type="datetime'''''''''''''''''''''3''6''''''.''''5''''''''%'''''''''''">
              <a:rPr lang="en-US" altLang="en-US" sz="1000" b="1" smtClean="0">
                <a:ea typeface="等线" panose="02010600030101010101" pitchFamily="2" charset="-122"/>
              </a:rPr>
              <a:pPr/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580F5E05-A856-5AAE-1976-ABB1F7B5A607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100695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29C00-9289-436E-9BF1-E16696DB5DA7}" type="datetime'''''F''''''''''''Y''''2''''''''''''''6''''Q2'''''''''''''''">
              <a:rPr lang="en-GB" altLang="en-US" sz="1000" b="1" smtClean="0">
                <a:ea typeface="等线" panose="02010600030101010101" pitchFamily="2" charset="-122"/>
              </a:rPr>
              <a:pPr/>
              <a:t>FY26Q2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43C79D5D-E2A5-6B6B-E23F-657800D0513A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0887075" y="45386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2990E8-46EC-426E-BD83-F8D2B2E903B8}" type="datetime'''''''8''''1''''''''''.''''5''''''%'''''''''''''''''''''">
              <a:rPr lang="en-US" altLang="en-US" sz="1000" b="1" smtClean="0">
                <a:ea typeface="等线" panose="02010600030101010101" pitchFamily="2" charset="-122"/>
              </a:rPr>
              <a:pPr/>
              <a:t>81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6" name="Text Placeholder 2">
            <a:extLst>
              <a:ext uri="{FF2B5EF4-FFF2-40B4-BE49-F238E27FC236}">
                <a16:creationId xmlns:a16="http://schemas.microsoft.com/office/drawing/2014/main" id="{B7B9F4D9-93E9-D22C-E02C-772F59F62399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0887075" y="5357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B375C3-FA12-465A-B1BB-29F371E6977E}" type="datetime'''''''''4''''7''.''''''''''''''''''''''''4''''''''%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7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87" name="Text Placeholder 2">
            <a:extLst>
              <a:ext uri="{FF2B5EF4-FFF2-40B4-BE49-F238E27FC236}">
                <a16:creationId xmlns:a16="http://schemas.microsoft.com/office/drawing/2014/main" id="{178273FC-E674-6F06-91B5-B762E828F4E0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1118850" y="55880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8168C3-8DC9-474B-A8E9-96C754C5C34C}" type="datetime'4''''''''2''''''''''''.9''''''%''''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C1BA3A0-E658-294E-0CB0-19DFF4270EA8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0101263" y="5248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E00AF-0A4C-4F25-93AA-C28D8F61CC5A}" type="datetime'''''''52''''''''''''.''''''''''0''''''%'''''''''''''''">
              <a:rPr lang="en-US" altLang="en-US" sz="1000" b="1" smtClean="0">
                <a:ea typeface="等线" panose="02010600030101010101" pitchFamily="2" charset="-122"/>
              </a:rPr>
              <a:pPr/>
              <a:t>5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83768DC9-8DB1-5546-02D6-3CDEB7CC09F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0855325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C54B2-EF49-44AF-BA01-EB0C54913047}" type="datetime'''''''''''FY''''26Q''3'''''''''''''''''''''''''''">
              <a:rPr lang="en-GB" altLang="en-US" sz="1000" b="1" smtClean="0">
                <a:ea typeface="等线" panose="02010600030101010101" pitchFamily="2" charset="-122"/>
              </a:rPr>
              <a:pPr/>
              <a:t>FY26Q3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D274E725-BF8B-14DC-5FA5-92A4C94E3F8F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11672888" y="51482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0E1CC1-DE67-4A59-A531-A43EB9D2C56B}" type="datetime'''''''6''''''''''''''''''''''6''''''''.''3''''''''''''''''''%'">
              <a:rPr lang="en-US" altLang="en-US" sz="1000" b="1" smtClean="0">
                <a:ea typeface="等线" panose="02010600030101010101" pitchFamily="2" charset="-122"/>
              </a:rPr>
              <a:pPr/>
              <a:t>66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2D3E5C21-E717-ABFD-9597-E610BCBB1C0F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672888" y="4719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DB13A-5DFC-4987-80C6-F7A47338659A}" type="datetime'''''7''''''''''''4''''''.''''''''''''''0''%'''''">
              <a:rPr lang="en-US" altLang="en-US" sz="1000" b="1" smtClean="0">
                <a:ea typeface="等线" panose="02010600030101010101" pitchFamily="2" charset="-122"/>
              </a:rPr>
              <a:pPr/>
              <a:t>74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374E997-614C-B79D-E5C9-F22A4689CD28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11672888" y="5810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C685F-F43A-465C-82CF-8A8D9D635DC5}" type="datetime'''''3''''8''''''''''''''.7''%'">
              <a:rPr lang="en-US" altLang="en-US" sz="1000" b="1" smtClean="0">
                <a:ea typeface="等线" panose="02010600030101010101" pitchFamily="2" charset="-122"/>
              </a:rPr>
              <a:pPr/>
              <a:t>38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B24B1565-41C4-667C-D509-11A25B5A3731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1641138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E47EB-8237-4E2F-89F3-A75C9C3C4E91}" type="datetime'''''''''''''''''''''FY''''''''''''''''''''26''''''Q''''4'''''">
              <a:rPr lang="en-GB" altLang="en-US" sz="1000" b="1" smtClean="0">
                <a:ea typeface="等线" panose="02010600030101010101" pitchFamily="2" charset="-122"/>
              </a:rPr>
              <a:pPr/>
              <a:t>FY26Q4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56B7973E-2380-63C3-5715-3781FEF41041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12458700" y="4660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22D0C-1FD0-422C-960B-70F9C4C2CD2D}" type="datetime'''76''''''''''''.''''''''''''''''''''''''5''''%'''''''''">
              <a:rPr lang="en-US" altLang="en-US" sz="1000" b="1" smtClean="0">
                <a:ea typeface="等线" panose="02010600030101010101" pitchFamily="2" charset="-122"/>
              </a:rPr>
              <a:pPr/>
              <a:t>7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8" name="Text Placeholder 2">
            <a:extLst>
              <a:ext uri="{FF2B5EF4-FFF2-40B4-BE49-F238E27FC236}">
                <a16:creationId xmlns:a16="http://schemas.microsoft.com/office/drawing/2014/main" id="{D76409CB-FDC4-0D00-EA88-57209BC76E86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2458700" y="55038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4C270-96B5-4D21-BEE5-24D79B3CE0D9}" type="datetime'''''''''''''''4''1''.''''''''''''''4''''''''''''''''%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1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8134AE2F-6CFE-A446-A02E-78F7AD123D7A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0101263" y="46291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16372B-128F-4830-808E-9D2E9D28C54E}" type="datetime'''''''7''''''''''''''''''''''''''''7''''''''''''''''''''.8%'''">
              <a:rPr lang="en-US" altLang="en-US" sz="1000" b="1" smtClean="0">
                <a:ea typeface="等线" panose="02010600030101010101" pitchFamily="2" charset="-122"/>
              </a:rPr>
              <a:pPr/>
              <a:t>77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B23FD14-6846-C286-AD58-7755359848F8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12426950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46338-C150-4F9F-9687-8B4AAE4DB830}" type="datetime'''''''''''''''''''''''''FY2''''''''''''7Q''''''''''''''1'''''">
              <a:rPr lang="en-GB" altLang="en-US" sz="1000" b="1" smtClean="0">
                <a:ea typeface="等线" panose="02010600030101010101" pitchFamily="2" charset="-122"/>
              </a:rPr>
              <a:pPr/>
              <a:t>FY27Q1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3B3F0EBB-3D34-6012-8EA1-894569814AB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13320713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DB450-01B8-424C-B764-15DBF326320F}" type="datetime'''''''''''''''''''2''''''月'">
              <a:rPr lang="zh-CN" altLang="en-US" sz="1000" b="1" smtClean="0"/>
              <a:pPr/>
              <a:t>2月</a:t>
            </a:fld>
            <a:endParaRPr lang="zh-CN" altLang="en-US" sz="1000" b="1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E9E3152D-30C9-9950-C93C-22695B016468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14028738" y="4648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09A11-EAE8-4333-975F-B56014F1AB91}" type="datetime'77.''''''''''''''0''''''''%'''''''''''''''''''''''">
              <a:rPr lang="en-US" altLang="en-US" sz="1000" b="1" smtClean="0">
                <a:ea typeface="等线" panose="02010600030101010101" pitchFamily="2" charset="-122"/>
              </a:rPr>
              <a:pPr/>
              <a:t>77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6" name="Text Placeholder 2">
            <a:extLst>
              <a:ext uri="{FF2B5EF4-FFF2-40B4-BE49-F238E27FC236}">
                <a16:creationId xmlns:a16="http://schemas.microsoft.com/office/drawing/2014/main" id="{63E728C3-CA68-F0F3-D131-63E73F2A1C0A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4028738" y="49418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6A3197-46CB-4C1C-A2F4-3401B36E1073}" type="datetime'''''''7''''''''''''4.''''9''''''''%''''''''''''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74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07" name="Text Placeholder 2">
            <a:extLst>
              <a:ext uri="{FF2B5EF4-FFF2-40B4-BE49-F238E27FC236}">
                <a16:creationId xmlns:a16="http://schemas.microsoft.com/office/drawing/2014/main" id="{5A1904E0-6C59-CDEB-DA7E-A6B4607170CE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4028738" y="5716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62EBF-7A6F-43A4-B2F1-A155837EED69}" type="datetime'4''''''''''''2''''''''.''''''6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4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88C24B9-8B6C-57B5-D41A-992610C92BFD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14104938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0AFAE3-766F-4C11-8C40-0492DE81B0D6}" type="datetime'''''''''''''''''3月'">
              <a:rPr lang="zh-CN" altLang="en-US" sz="1000" b="1" smtClean="0"/>
              <a:pPr/>
              <a:t>3月</a:t>
            </a:fld>
            <a:endParaRPr lang="zh-CN" altLang="en-US" sz="1000" b="1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672A048A-E06F-3607-0916-1807732283CE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14814550" y="47069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5EC610-381F-4173-85DD-C70ADD86C0D7}" type="datetime'''''''''''''7''''''''''''''4''''''''''''.''''6%'''">
              <a:rPr lang="en-US" altLang="en-US" sz="1000" b="1" smtClean="0">
                <a:ea typeface="等线" panose="02010600030101010101" pitchFamily="2" charset="-122"/>
              </a:rPr>
              <a:pPr/>
              <a:t>74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211" name="Text Placeholder 2">
            <a:extLst>
              <a:ext uri="{FF2B5EF4-FFF2-40B4-BE49-F238E27FC236}">
                <a16:creationId xmlns:a16="http://schemas.microsoft.com/office/drawing/2014/main" id="{A2BD54E6-C698-2201-C5DE-9481CD433AC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14814550" y="52784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450FE6-F468-4BEB-8556-73CBDAB70AC0}" type="datetime'50''''''''''''.''''''''''''''8''''''''''''%''''''''''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50.8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08F3CF9D-EAE8-D592-DBC8-64897101871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4890750" y="6999288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3D46C-76FB-4800-9198-B90975330021}" type="datetime'4''''''''''''''''''''''''''''''''''''''''月'''''''''''">
              <a:rPr lang="zh-CN" altLang="en-US" sz="1000" b="1" smtClean="0"/>
              <a:pPr/>
              <a:t>4月</a:t>
            </a:fld>
            <a:endParaRPr lang="zh-CN" altLang="en-US" sz="1000" b="1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DB0F846-1441-3505-8C87-0D2F012E8E88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15600363" y="4602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1B33B0-ADDD-4B86-9528-2D5FEF25E62C}" type="datetime'''7''''8''''''''''''''''''''''''''.''''''9''%'''''''''">
              <a:rPr lang="en-US" altLang="en-US" sz="1000" b="1" smtClean="0">
                <a:ea typeface="等线" panose="02010600030101010101" pitchFamily="2" charset="-122"/>
              </a:rPr>
              <a:pPr/>
              <a:t>78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7780400E-1165-8A77-83F5-DACBDC08667A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5600363" y="6154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3061E2-D746-446F-816C-8E3115BF4EBC}" type="datetime'2''''''4''''''.''''''''''''''''''''''''''''''''4''''%'''">
              <a:rPr lang="en-US" altLang="en-US" sz="1000" b="1" smtClean="0">
                <a:ea typeface="等线" panose="02010600030101010101" pitchFamily="2" charset="-122"/>
              </a:rPr>
              <a:pPr/>
              <a:t>24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9AD6DF05-4B25-1ADD-0BC2-FBFF676DC2F4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15600363" y="5713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3835C6-F026-45D5-BD8C-C4B2122C7C49}" type="datetime'3''2''''''.''''''''''''''''''''7''''''''''''%'''''''">
              <a:rPr lang="en-US" altLang="en-US" sz="1000" b="1" smtClean="0">
                <a:ea typeface="等线" panose="02010600030101010101" pitchFamily="2" charset="-122"/>
              </a:rPr>
              <a:pPr/>
              <a:t>32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17DACA9-3BDD-48F7-61A4-94664662EC5E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5568613" y="69992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261CAF-22CA-404F-834A-9FF926A46880}" type="datetime'''5''''''''''''月''''''''''m''''''''''''''''''''t''d'''">
              <a:rPr lang="zh-CN" altLang="en-US" sz="1000" b="1" smtClean="0"/>
              <a:pPr/>
              <a:t>5月mtd</a:t>
            </a:fld>
            <a:endParaRPr lang="zh-CN" altLang="en-US" sz="1000" b="1" dirty="0"/>
          </a:p>
        </p:txBody>
      </p:sp>
      <p:sp useBgFill="1">
        <p:nvSpPr>
          <p:cNvPr id="199" name="Text Placeholder 2">
            <a:extLst>
              <a:ext uri="{FF2B5EF4-FFF2-40B4-BE49-F238E27FC236}">
                <a16:creationId xmlns:a16="http://schemas.microsoft.com/office/drawing/2014/main" id="{F4AF7E9B-4A1E-4144-C5C1-8D28B716810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12458700" y="5802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D8B2F3-8517-4BE3-9FEA-B4F5C77751A8}" type="datetime'''''''''''''3''''''''''''9.''''''''''1''''''''''''%'''''">
              <a:rPr lang="en-US" altLang="en-US" sz="1000" b="1" smtClean="0">
                <a:effectLst/>
                <a:ea typeface="等线" panose="02010600030101010101" pitchFamily="2" charset="-122"/>
              </a:rPr>
              <a:pPr/>
              <a:t>39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cxnSp>
        <p:nvCxnSpPr>
          <p:cNvPr id="232" name="直线连接符 231">
            <a:extLst>
              <a:ext uri="{FF2B5EF4-FFF2-40B4-BE49-F238E27FC236}">
                <a16:creationId xmlns:a16="http://schemas.microsoft.com/office/drawing/2014/main" id="{ED98D83E-C2B2-427E-378B-8120D243CF1B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223962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线连接符 233">
            <a:extLst>
              <a:ext uri="{FF2B5EF4-FFF2-40B4-BE49-F238E27FC236}">
                <a16:creationId xmlns:a16="http://schemas.microsoft.com/office/drawing/2014/main" id="{064BB0DE-DEFC-9061-3964-B5B60F430D58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2998450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直线连接符 232">
            <a:extLst>
              <a:ext uri="{FF2B5EF4-FFF2-40B4-BE49-F238E27FC236}">
                <a16:creationId xmlns:a16="http://schemas.microsoft.com/office/drawing/2014/main" id="{A2F37FD9-6B88-602F-BD14-BCEFDC4CD9F9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3757275" y="7962900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16275B0-5351-A50F-84AE-50D71CE8977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253172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E7706A-B5FD-4164-95D0-72011ACB2DBE}" type="datetime'电''''''''''''''''''''''''''''''''''''''''销'''''''''''''''">
              <a:rPr kumimoji="1" lang="zh-CN" altLang="en-US" sz="1400" smtClean="0"/>
              <a:pPr/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8A6F93F-959C-A022-A3D3-063223E2CD07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3290550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F4EB42-C5E7-4903-9002-37E360CE5B76}" type="datetime'渠''''''''''''道'''''''''''''''''''''''''''''''''">
              <a:rPr kumimoji="1" lang="zh-CN" altLang="en-US" sz="1400" smtClean="0"/>
              <a:pPr/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B461FCE-6405-1E4C-8ECE-343B0B8BD170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4049375" y="788035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681595-9603-4BEB-A73D-3171DEBF97E3}" type="datetime'''''''''''''直''营'''''''''''''''''''''''''''">
              <a:rPr kumimoji="1" lang="zh-CN" altLang="en-US" sz="1400" smtClean="0"/>
              <a:pPr/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pic>
        <p:nvPicPr>
          <p:cNvPr id="255" name="图片 254">
            <a:extLst>
              <a:ext uri="{FF2B5EF4-FFF2-40B4-BE49-F238E27FC236}">
                <a16:creationId xmlns:a16="http://schemas.microsoft.com/office/drawing/2014/main" id="{3D56923B-C5B4-468C-DEF7-A476BE713318}"/>
              </a:ext>
            </a:extLst>
          </p:cNvPr>
          <p:cNvPicPr>
            <a:picLocks noChangeAspect="1"/>
          </p:cNvPicPr>
          <p:nvPr/>
        </p:nvPicPr>
        <p:blipFill>
          <a:blip r:embed="rId116"/>
          <a:srcRect l="4791"/>
          <a:stretch>
            <a:fillRect/>
          </a:stretch>
        </p:blipFill>
        <p:spPr>
          <a:xfrm>
            <a:off x="16472936" y="4356098"/>
            <a:ext cx="4792178" cy="342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850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AB8F-F5C9-45D5-7092-BE3189264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C6B606-1B6E-3A65-6E5E-851455E5191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454171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2" imgW="7772400" imgH="10058400" progId="TCLayout.ActiveDocument.1">
                  <p:embed/>
                </p:oleObj>
              </mc:Choice>
              <mc:Fallback>
                <p:oleObj name="think-cell 幻灯片" r:id="rId12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6545A98F-1BBD-ABE2-F671-D92CFDADD6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211638"/>
              </p:ext>
            </p:extLst>
          </p:nvPr>
        </p:nvGraphicFramePr>
        <p:xfrm>
          <a:off x="514350" y="715963"/>
          <a:ext cx="2686050" cy="241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4"/>
          </a:graphicData>
        </a:graphic>
      </p:graphicFrame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92E57A62-EC6D-A4E5-8B62-39B25BF0AD0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1350" y="1393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4B948-0610-45D3-917C-70C97CAC57C4}" type="datetime'''''''''3''''''''''''''1''.''''''''''''''''''''''2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2%</a:t>
            </a:fld>
            <a:endParaRPr lang="zh-CN" altLang="en-US" sz="1000" dirty="0"/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AC046814-D627-7832-FF99-50D6E9C36A2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338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ECBCC7-2770-4624-AFB0-8804D444609F}" type="datetime'''''''''''''6''''''''''''''''''''7''''''.''''''2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013E25-25DD-643F-7E1A-E401D8E8E8C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7E7714-025E-4E5B-85C5-F7A294ACC658}" type="datetime'F''''''''''''''''''''''''''''''''''''''Y26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CC41920D-6C28-E3D2-A3B0-77F58298C05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85875" y="10826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F9EF36-4677-4097-B28F-406AFC557D87}" type="datetime'''''1''''''''.''''''8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B533116B-B733-20C0-08D6-46CACF5B42D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338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C00BA-74F7-4ABC-B4D9-DC957E98A2EF}" type="datetime'3''''''''''1''''''''.''''''''3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.3%</a:t>
            </a:fld>
            <a:endParaRPr lang="zh-CN" altLang="en-US" sz="1000" dirty="0"/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4FB8F713-17A9-140A-EA6E-6DA0F53B4C9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3161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4940C0-149A-44B4-9F03-D016160ECC0F}" type="datetime'''''''''''''6''''''''''''''''6''.''''''9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dirty="0"/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E1054E7C-2388-47FB-6599-A4C1F08EB59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DABAC-BC39-4BDA-8491-DCF4780F77E0}" type="datetime'''''F''''''''''''''''''''''''Y26''''''''''Q''3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id="{44E6802D-F202-4E2D-F395-F4681E58588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0890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3DE037-C89C-4255-AF03-4B604E428CD4}" type="datetime'''''''''''''''1''.7''''''''''''''''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B450F457-5076-2E3D-A7A6-C84B53C818F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1850" y="1354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A8899D-4B89-4668-910C-5B2556391010}" type="datetime'''3''4''''''''''''''''''''''''.''''''''''''''''1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1%</a:t>
            </a:fld>
            <a:endParaRPr lang="zh-CN" altLang="en-US" sz="1000" dirty="0"/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772AB53-BA4E-D928-B751-635617852FC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85775" y="113347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CB9E2-82AD-4C95-84DA-6B205905F5F2}" type="datetime'''''''''''''''''''''''''''''''1.''''''6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4C145DDD-3463-BEBD-CA3D-775F7F37DFB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028825" y="3101975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CC59E-331B-4F63-8D80-E387716DBE35}" type="datetime'''''F''''Y''''''''''26''''''Q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id="{16371929-C7A6-CAD2-7FF8-6591340FD27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884488" y="1887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E79AA6-8420-4358-A7C1-720EC2BFA7AF}" type="datetime'''''''''''''''1''''''''''''''''''''''''''''''''.''''9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DC4090D1-40F1-C745-B910-37F32E0172C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14638" y="20716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8FF6AE-00C8-43C6-9437-B5D02F0C9DEB}" type="datetime'''3''''''''''''1''''''''''''''''''''''.6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6%</a:t>
            </a:fld>
            <a:endParaRPr lang="zh-CN" altLang="en-US" sz="1000" dirty="0"/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DB9AAE21-A2D7-9D1F-D088-C4397EF96BC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20975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3BCB-42E1-4749-8BD5-34B031DCDCB6}" type="datetime'''''''''''''''''''''''6''''''''''''''''''''6''''''''''.''5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5%</a:t>
            </a:fld>
            <a:endParaRPr lang="zh-CN" altLang="en-US" sz="1000" dirty="0"/>
          </a:p>
        </p:txBody>
      </p:sp>
      <p:sp>
        <p:nvSpPr>
          <p:cNvPr id="225" name="文本占位符 2">
            <a:extLst>
              <a:ext uri="{FF2B5EF4-FFF2-40B4-BE49-F238E27FC236}">
                <a16:creationId xmlns:a16="http://schemas.microsoft.com/office/drawing/2014/main" id="{BF32BF15-767E-03DF-6C1D-4043B4C2B54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801938" y="3101975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30871-4531-4A95-95F2-0AE0FA954B67}" type="datetime'''F''''''''''''''Y''''''2''''''''''7Q1''''''''''''''t''''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F199A9A-021F-CF13-1D87-B8CA0AB670B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46075" y="9175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C690B-04F1-47AF-B0A3-EE568535A110}" type="datetime'''2''''55''''6''''''''''''''''''''''''''''''''''''''''''''8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568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45A7FD3-1FF7-1AFD-FAFF-3E77AE72422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185863" y="8445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7DD3E9-60CD-4AAD-8C60-5A013577BFD4}" type="datetime'''''''''''''''''2''''''6''''''5''''''''''34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534</a:t>
            </a:fld>
            <a:endParaRPr kumimoji="1" lang="zh-CN" alt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1ED7F35-EC70-9264-FC64-353A7CD96B7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027238" y="83185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410E2-9D69-484D-8B24-D77BD252538F}" type="datetime'''2''''''''''''''6''''7''''''''''''''''''''''''''''''0''''''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06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60DA17F7-7B34-A963-5915-98A8AD15E77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867025" y="1639888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A5790-B07F-41FD-9551-D15D09FEA992}" type="datetime'''''''''1''''''''''''''''5''9''''''3''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36</a:t>
            </a:fld>
            <a:endParaRPr kumimoji="1" lang="zh-CN" alt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34D351AC-CF78-1221-7A8F-03965AF29AD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01850" y="2339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CA5602-441C-4CA7-95FD-94CF04F8EBF9}" type="datetime'''''''''''''''''''''''''''''''''6''''''4.''''''2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2%</a:t>
            </a:fld>
            <a:endParaRPr lang="zh-CN" altLang="en-US" sz="1000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7A307C0-7DF9-A436-A6E4-A0A716DFE33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416800" y="54117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3E510CC-E580-C3F7-2732-33F54DA388F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175625" y="54117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B1E3EB15-111A-6C38-1B12-2FA26DF0D57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34450" y="54117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9CD97D17-D18B-34FD-EB30-AABF90A4801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71842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238CCA-860F-415B-BBDD-C5ADE8683906}" type="datetime'''''''''''''''''电''''''''''''''''''''''''''销''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2150147-2559-D562-57C7-F8A01808B77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477250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179031-398C-4831-AA97-E3E0EA4ECEE5}" type="datetime'''''''''''''''''''''''''''渠''''''''''''道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84E7EB14-ED7E-0E2D-1378-E7607B24376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236075" y="5422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9E3938-D190-4F06-B81E-667A92F7B2B1}" type="datetime'''''''''''直''''''''''''''''''''''营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B0AA2456-C6B8-F229-17BB-561BAE8ED181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59770111"/>
              </p:ext>
            </p:extLst>
          </p:nvPr>
        </p:nvGraphicFramePr>
        <p:xfrm>
          <a:off x="7754938" y="1111250"/>
          <a:ext cx="2589212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2E464132-07DC-448A-584D-700C756FF2C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775575" y="25669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09263F-1DC0-42C6-895B-D548A6AA5F2F}" type="datetime'3''2''''''''.''''''''''''''''''''''0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0%</a:t>
            </a:fld>
            <a:endParaRPr lang="zh-CN" altLang="en-US" sz="1000" dirty="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C624E3B3-903F-042C-9A73-F6E17C1C3C5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881938" y="28733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6E3D99-9F95-4643-970F-512391990DD1}" type="datetime'66''''.3''''''''''''''''''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dirty="0"/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9E3E1488-35B9-8518-CFE1-4DEA9810B7B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716838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C6E-9825-4709-AEDB-FADD73835E06}" type="datetime'''''2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E360762A-59B2-576B-AE77-D09F2AE0BCEC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489950" y="12684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34480C-61D8-4F08-AA58-172A2101FE96}" type="datetime'''''''''''''''''''''''1''''.8%''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F9B2C550-71C4-BAB9-9468-01EDD9D289D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486775" y="16652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66BF9-DCE0-4EDF-A976-4E6E78EA8408}" type="datetime'''''''''''3''''''''''3.''''7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.7%</a:t>
            </a:fld>
            <a:endParaRPr lang="zh-CN" altLang="en-US" sz="10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65F013D0-45BB-A486-85FB-6D19C32412A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469313" y="25066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4CEB61-4334-4538-B5CA-3BB2DEDF08DB}" type="datetime'''''''''6''''''''''''4''''''''''.''''''''''''''5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5%</a:t>
            </a:fld>
            <a:endParaRPr lang="zh-CN" altLang="en-US" sz="1000" dirty="0"/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35C83698-2B5C-2CCE-6222-6D372003D22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524875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782786-5487-48E1-B4F1-D1C3957C6B75}" type="datetime'''''''''''''''''''''''''''''3''''月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383497D3-70F5-30BB-FEDB-742B36876B1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309100" y="15081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5E79B2-7A79-488F-97D9-9F7AA61562F4}" type="datetime'1''''''.''''''''''''''''''''''''''9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7B001F9-709A-A319-DCC5-055B43940E1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278938" y="1828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7E81F0-44DF-4806-A8A6-A8C261E59CCD}" type="datetime'''''''3''2''''''''''''''''''''.''9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.9%</a:t>
            </a:fld>
            <a:endParaRPr lang="zh-CN" altLang="en-US" sz="10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A07E46C-9203-664D-7A52-1EA76802DCF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881938" y="22955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29DC5-8489-4BB4-BCB4-27C764998DC3}" type="datetime'''''''''''''''''''''''1''''''''''''''''.7''''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28" name="文本占位符 2">
            <a:extLst>
              <a:ext uri="{FF2B5EF4-FFF2-40B4-BE49-F238E27FC236}">
                <a16:creationId xmlns:a16="http://schemas.microsoft.com/office/drawing/2014/main" id="{DF51FBFC-08E1-F4C4-9925-48E496F8D3E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332913" y="3282950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ABC17-4263-40C0-9CB5-4CE18F4EEE6B}" type="datetime'''''''''''''''''4''月''''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12AD19A-155B-60E1-3A0D-777B371B86F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929813" y="22606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199B3-6904-43CD-8FD8-83C13D106186}" type="datetime'''''''2.''''''''''''''''''0''''''%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90CB867-9F8C-F0AA-73B8-B6DAC8E2991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864725" y="2401888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3CA20-65D9-4B4E-89D6-5582DCEEDF37}" type="datetime'2''''9''''''.0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%</a:t>
            </a:fld>
            <a:endParaRPr lang="zh-CN" altLang="en-US" sz="10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0D58EA-B1EC-746D-804A-272B1F43BBC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864725" y="28479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3294F-3B5B-4D1D-B4F2-EBAE2BFA6D10}" type="datetime'''''''''''''''''6''''''9''''.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0%</a:t>
            </a:fld>
            <a:endParaRPr lang="zh-CN" altLang="en-US" sz="1000" dirty="0"/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F466628C-7B34-1402-65C6-CE9FBCC0541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0074275" y="328295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C5FAC-DA1B-4D01-9B7E-77096F690BA5}" type="datetime'''''''''''''''''''''''''5月''''''''''''''''''''''''''td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td</a:t>
            </a:fld>
            <a:endParaRPr lang="zh-CN" altLang="en-US" sz="1200" b="1" dirty="0"/>
          </a:p>
        </p:txBody>
      </p:sp>
      <p:sp useBgFill="1">
        <p:nvSpPr>
          <p:cNvPr id="177" name="Text Placeholder 2">
            <a:extLst>
              <a:ext uri="{FF2B5EF4-FFF2-40B4-BE49-F238E27FC236}">
                <a16:creationId xmlns:a16="http://schemas.microsoft.com/office/drawing/2014/main" id="{1E8408F8-601A-C5DE-3506-BACEA57FDB7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631113" y="21431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48471F-6B9A-4A39-95B2-4F17A2BCD435}" type="datetime'''''''''''''''''''''5''''''1''''''''''''''''''9''''''''''''2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92</a:t>
            </a:fld>
            <a:endParaRPr kumimoji="1" lang="zh-CN" alt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1A376E4-407B-340E-EFFA-56E20264C8BF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394700" y="97948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97F73-2002-4E7A-A144-1D5A18D84A04}" type="datetime'''1''''''''''''2''''''''''''''''''''''''10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00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DC18138C-6B2B-474D-25AC-0E562550C39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202738" y="124460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3DE13-4BF7-4D6F-8A83-CC6C69CEE2E7}" type="datetime'1''''''''''''''''''''0''5''''2''''''''''''''0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20</a:t>
            </a:fld>
            <a:endParaRPr kumimoji="1" lang="zh-CN" altLang="en-US" sz="1400" dirty="0"/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03EC6281-6C26-7D29-AB6C-E4083B96028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0055225" y="210502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0AC8A-0C3D-45C7-990B-4C2E33A30699}" type="datetime'''''''''''''54''''''''''''''''16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16</a:t>
            </a:fld>
            <a:endParaRPr kumimoji="1" lang="zh-CN" altLang="en-US" sz="14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25FC50FB-D39E-8A2D-1808-A022362FE9BB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277350" y="25860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A9AC14-5EEC-4EFA-BA5E-58B932FF76A0}" type="datetime'''''''''''''''''6''''5''''.''''''''''2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2%</a:t>
            </a:fld>
            <a:endParaRPr lang="zh-CN" altLang="en-US" sz="1000" dirty="0"/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718DB7D5-9186-D7C2-CB0A-DD2CC4C29017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584613561"/>
              </p:ext>
            </p:extLst>
          </p:nvPr>
        </p:nvGraphicFramePr>
        <p:xfrm>
          <a:off x="14500225" y="109061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cxnSp>
        <p:nvCxnSpPr>
          <p:cNvPr id="4" name="直线连接符 3">
            <a:extLst>
              <a:ext uri="{FF2B5EF4-FFF2-40B4-BE49-F238E27FC236}">
                <a16:creationId xmlns:a16="http://schemas.microsoft.com/office/drawing/2014/main" id="{81CED256-55B3-CFF2-F79F-77951A738B1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 flipV="1">
            <a:off x="16371888" y="1638300"/>
            <a:ext cx="0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15D8926-E3D9-AD91-25D1-DA955DA82E20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27225" y="25828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990333-673A-40B7-AC2F-86EA428583E8}" type="datetime'''''''''''''''''''6''''''''''''3.''''''''1''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1%</a:t>
            </a:fld>
            <a:endParaRPr lang="zh-CN" altLang="en-US" sz="1000" dirty="0"/>
          </a:p>
        </p:txBody>
      </p:sp>
      <p:sp>
        <p:nvSpPr>
          <p:cNvPr id="278" name="文本占位符 2">
            <a:extLst>
              <a:ext uri="{FF2B5EF4-FFF2-40B4-BE49-F238E27FC236}">
                <a16:creationId xmlns:a16="http://schemas.microsoft.com/office/drawing/2014/main" id="{64467FBC-1355-D17A-8FE9-1BF7B231C290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379575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91BB6-3E26-4828-86B1-F0650FE2EB02}" type="datetime'''m''''''''''''4''''''w''''''''''3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3</a:t>
            </a:fld>
            <a:endParaRPr lang="zh-CN" altLang="en-US" sz="1200" b="1" dirty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6C69919E-4643-8953-2E64-85010B217566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336838" y="1246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7B530-15C0-4157-B54F-23DEE1A89E17}" type="datetime'''1''''''''''''''''''''''''''''''''''''''.''''''5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72B4C81-4AF7-FA30-D2AA-AA5DE6069A82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317788" y="16891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E31D6-A31B-4719-A878-7C996347BFC1}" type="datetime'''''''''''3''''''8''.6''''''''''''''''''''%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dirty="0"/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45D1B9CC-B557-17BF-8170-968C348815E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300325" y="2532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7DDDEB-3B45-4165-A9FF-0AC1A92362DA}" type="datetime'5''9''''''''''''''''.''''''''''''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9%</a:t>
            </a:fld>
            <a:endParaRPr lang="zh-CN" altLang="en-US" sz="1000" dirty="0"/>
          </a:p>
        </p:txBody>
      </p:sp>
      <p:sp>
        <p:nvSpPr>
          <p:cNvPr id="260" name="文本占位符 2">
            <a:extLst>
              <a:ext uri="{FF2B5EF4-FFF2-40B4-BE49-F238E27FC236}">
                <a16:creationId xmlns:a16="http://schemas.microsoft.com/office/drawing/2014/main" id="{840BB14E-BC08-9BD5-7F00-59BE21CB859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27333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5A6047-4983-4E0D-A50C-3A455C03B254}" type="datetime'''''''''''''''m4''''''''''''''''''''''w''''''''''''4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4w4</a:t>
            </a:fld>
            <a:endParaRPr lang="zh-CN" altLang="en-US" sz="1200" b="1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4CDD034A-AC9B-C515-DEDB-438B7C08D3F0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229013" y="17192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8126E7-5526-4E94-ADC6-18C3DB825C1E}" type="datetime'''''''''''2''''''.''''''''''''''''1''''%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1%</a:t>
            </a:fld>
            <a:endParaRPr lang="zh-CN" altLang="en-US" sz="1000" dirty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6059B291-8B73-A386-7195-A1D5CA82025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4627225" y="1712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E105F3-4D6A-44FF-BCF0-9AB1BA07B3D5}" type="datetime'''''''''3''''''''4''''.''''''''''''''''9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9%</a:t>
            </a:fld>
            <a:endParaRPr lang="zh-CN" altLang="en-US" sz="1000" dirty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5B37707-EAB8-D895-C738-57431B4E31C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197263" y="19319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121F43-CA71-4B82-BA02-4500E5604ECA}" type="datetime'2''''9''''''''''''''''''''.''''''''''''''2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2%</a:t>
            </a:fld>
            <a:endParaRPr lang="zh-CN" altLang="en-US" sz="1000" dirty="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6993726C-14D9-1AE9-5186-FF57E18125DF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4627225" y="13843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8FDBE7-B625-4A5A-87BA-1F079E38A470}" type="datetime'''''''''2''''.''''0''%''''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66" name="文本占位符 2">
            <a:extLst>
              <a:ext uri="{FF2B5EF4-FFF2-40B4-BE49-F238E27FC236}">
                <a16:creationId xmlns:a16="http://schemas.microsoft.com/office/drawing/2014/main" id="{F1DBE491-6792-0C56-1C46-86D7E6B2CB3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16168688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96B513-9C18-4A96-86B1-EE7E158B9A9D}" type="datetime'''m''5''''''''''''''''''''''''''''w''''''''''''''''1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1</a:t>
            </a:fld>
            <a:endParaRPr lang="zh-CN" altLang="en-US" sz="1200" b="1" dirty="0"/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19740924-7FD5-799D-15EE-3B70BFE60C4F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13238" y="16478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A778AA-9A28-4C14-AFBB-92CDB011E97C}" type="datetime'''''''2''''''''''''''''.''2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1554C467-E151-145B-4269-8A59E6DE2AF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868775" y="1846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36865C-92B9-42DB-B2F8-2EB89E53ED81}" type="datetime'''''''''''''''''''3''''''''''''''''''0''''''''.''7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dirty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3796EEAF-2901-2E5A-F49C-35755221A72F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6868775" y="26146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F9DDB6-4D6F-4565-BFF9-01CF49B0C78F}" type="datetime'''''6''''''''''7''.1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1%</a:t>
            </a:fld>
            <a:endParaRPr lang="zh-CN" altLang="en-US" sz="1000" dirty="0"/>
          </a:p>
        </p:txBody>
      </p:sp>
      <p:sp>
        <p:nvSpPr>
          <p:cNvPr id="273" name="文本占位符 2">
            <a:extLst>
              <a:ext uri="{FF2B5EF4-FFF2-40B4-BE49-F238E27FC236}">
                <a16:creationId xmlns:a16="http://schemas.microsoft.com/office/drawing/2014/main" id="{BF3EDACD-6412-6B66-8320-CC4CD747515C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17062450" y="3262313"/>
            <a:ext cx="406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E0399-FD72-45A1-965B-1158F55955C6}" type="datetime'm''''''''''''5''''''''''w''''''''2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5w2</a:t>
            </a:fld>
            <a:endParaRPr lang="zh-CN" altLang="en-US" sz="1200" b="1" dirty="0"/>
          </a:p>
        </p:txBody>
      </p:sp>
      <p:sp useBgFill="1">
        <p:nvSpPr>
          <p:cNvPr id="376" name="Text Placeholder 2">
            <a:extLst>
              <a:ext uri="{FF2B5EF4-FFF2-40B4-BE49-F238E27FC236}">
                <a16:creationId xmlns:a16="http://schemas.microsoft.com/office/drawing/2014/main" id="{BB651962-0834-E653-1E8B-DD38A77B9B9D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4376400" y="12207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5FE5F-5CE9-45B0-8A26-1841A2C82A5F}" type="datetime'''''''''''''''''''''''''''''2''''4''''''''''''''''''7''''''0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0</a:t>
            </a:fld>
            <a:endParaRPr kumimoji="1" lang="zh-CN" altLang="en-US" sz="1400" dirty="0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A10353CC-D256-F7ED-3EB9-27B9C649D24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5270163" y="9588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B9A6F-BE22-4C13-9266-EB1C5A1948AB}" type="datetime'''''2''''8''''''3''''''''4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4</a:t>
            </a:fld>
            <a:endParaRPr kumimoji="1" lang="zh-CN" altLang="en-US" sz="1400" dirty="0"/>
          </a:p>
        </p:txBody>
      </p:sp>
      <p:sp useBgFill="1">
        <p:nvSpPr>
          <p:cNvPr id="384" name="Text Placeholder 2">
            <a:extLst>
              <a:ext uri="{FF2B5EF4-FFF2-40B4-BE49-F238E27FC236}">
                <a16:creationId xmlns:a16="http://schemas.microsoft.com/office/drawing/2014/main" id="{731E9539-E117-C229-63B6-DD95DB5841E0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6165513" y="14081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4F652-11E1-4286-9AB3-4754FA47EDE4}" type="datetime'2''''2''''''''''''''0''''''''''''''''''''''''''''''8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8</a:t>
            </a:fld>
            <a:endParaRPr kumimoji="1" lang="zh-CN" altLang="en-US" sz="1400" dirty="0"/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8D386C75-4140-410B-9D15-4E46B431EAEE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7059275" y="1423988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BF397-70BA-4A14-94A1-1A8512D3B30C}" type="datetime'''''''''2''''''''''''1''''8''''''''''''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7</a:t>
            </a:fld>
            <a:endParaRPr kumimoji="1" lang="zh-CN" altLang="en-US" sz="14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14D2137-5BB7-847A-91DB-54D68AD39B40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16195675" y="25971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964D4F-1D5F-41D9-8CC5-C23919D91C80}" type="datetime'''''''''''6''8''.''''''''''''8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8%</a:t>
            </a:fld>
            <a:endParaRPr lang="zh-CN" altLang="en-US" sz="1000" dirty="0"/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5F3E50BD-F820-3C56-2737-7871600487E8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308805910"/>
              </p:ext>
            </p:extLst>
          </p:nvPr>
        </p:nvGraphicFramePr>
        <p:xfrm>
          <a:off x="909638" y="6913563"/>
          <a:ext cx="8455025" cy="239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285" name="直线连接符 284">
            <a:extLst>
              <a:ext uri="{FF2B5EF4-FFF2-40B4-BE49-F238E27FC236}">
                <a16:creationId xmlns:a16="http://schemas.microsoft.com/office/drawing/2014/main" id="{1247FD1C-4612-1DCE-D59A-5DDA471CCEA1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>
            <a:off x="8777288" y="82153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线连接符 278">
            <a:extLst>
              <a:ext uri="{FF2B5EF4-FFF2-40B4-BE49-F238E27FC236}">
                <a16:creationId xmlns:a16="http://schemas.microsoft.com/office/drawing/2014/main" id="{BA7E9283-9CF6-545A-29AE-C5D196882889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7675563" y="7851775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直线连接符 250">
            <a:extLst>
              <a:ext uri="{FF2B5EF4-FFF2-40B4-BE49-F238E27FC236}">
                <a16:creationId xmlns:a16="http://schemas.microsoft.com/office/drawing/2014/main" id="{2B03A318-955E-89BA-B09B-E55E891CDE7E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618038" y="79359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直线连接符 401">
            <a:extLst>
              <a:ext uri="{FF2B5EF4-FFF2-40B4-BE49-F238E27FC236}">
                <a16:creationId xmlns:a16="http://schemas.microsoft.com/office/drawing/2014/main" id="{5AE723CD-3607-315D-3CD4-141C10655548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 flipH="1">
            <a:off x="2560638" y="79248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EEF753B7-C23B-B094-7C2E-213DDA55950C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368550" y="6807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A15C4A-35CB-411E-A355-BF78BDC4FC44}" type="datetime'''''8''''''''1.5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.5%</a:t>
            </a:fld>
            <a:endParaRPr lang="zh-CN" altLang="en-US" sz="1000" b="1" dirty="0"/>
          </a:p>
        </p:txBody>
      </p:sp>
      <p:sp useBgFill="1">
        <p:nvSpPr>
          <p:cNvPr id="227" name="Text Placeholder 2">
            <a:extLst>
              <a:ext uri="{FF2B5EF4-FFF2-40B4-BE49-F238E27FC236}">
                <a16:creationId xmlns:a16="http://schemas.microsoft.com/office/drawing/2014/main" id="{B9D3F3BE-0AB2-E7A4-4394-3D99AB8502DD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368550" y="762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8FFE6F-D239-435E-8BA5-72350250C5DF}" type="datetime'''''''''''''''''''4''''7''.''4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b="1" dirty="0"/>
          </a:p>
        </p:txBody>
      </p:sp>
      <p:sp useBgFill="1">
        <p:nvSpPr>
          <p:cNvPr id="228" name="Text Placeholder 2">
            <a:extLst>
              <a:ext uri="{FF2B5EF4-FFF2-40B4-BE49-F238E27FC236}">
                <a16:creationId xmlns:a16="http://schemas.microsoft.com/office/drawing/2014/main" id="{2C31F55F-62C1-826F-4EA2-43958C68F14B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600325" y="78565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6EED87-A020-48A2-820E-A382EE9D2755}" type="datetime'4''''''2''''''''''''''''''''.9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.9%</a:t>
            </a:fld>
            <a:endParaRPr lang="zh-CN" altLang="en-US" sz="1000" b="1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CF98D-6ACC-BA03-8069-BB80A656B006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300163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F8F5E-2B43-4FF7-8C90-C97215724007}" type="datetime'''F''''''''''Y2''''''''''''''6''''''''''''Q2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C037872-3FAB-05E8-23FE-DAD6311C5BA9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33680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3B512-3EEF-4296-A6FA-03A0F3E1DCDB}" type="datetime'F''''''Y''''''''''2''''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30FB2F44-2853-4585-B4BC-8A7436879157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405188" y="74168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33894-78CC-42C3-A10B-EDCAC0E091CE}" type="datetime'6''''''''6''''''''.''''''''''3''''''''''''''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3%</a:t>
            </a:fld>
            <a:endParaRPr lang="zh-CN" altLang="en-US" sz="1000" b="1" dirty="0"/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F0CE544-FEC4-996D-9415-8EEF52FD3051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405188" y="6988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384A0-8CA2-482F-94DA-76959848DFC6}" type="datetime'''''''''''7''''''''''4''''''''''''''''.0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0%</a:t>
            </a:fld>
            <a:endParaRPr lang="zh-CN" altLang="en-US" sz="1000" b="1" dirty="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1FBD8C80-547C-060C-E087-3F96985FF586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405188" y="80787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5A0E91-A58C-4F8F-8A91-03E788E7734A}" type="datetime'3''''''''''''''8''''''''''''''''''.''''''''7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7%</a:t>
            </a:fld>
            <a:endParaRPr lang="zh-CN" altLang="en-US" sz="1000" b="1" dirty="0"/>
          </a:p>
        </p:txBody>
      </p:sp>
      <p:sp useBgFill="1">
        <p:nvSpPr>
          <p:cNvPr id="230" name="Text Placeholder 2">
            <a:extLst>
              <a:ext uri="{FF2B5EF4-FFF2-40B4-BE49-F238E27FC236}">
                <a16:creationId xmlns:a16="http://schemas.microsoft.com/office/drawing/2014/main" id="{3311FF04-D948-F954-CF75-84BF25962E82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3636963" y="7697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AEE95E-C06A-4689-B98B-BBC985F4F5E8}" type="datetime'''''49''''''''''''''''''''''''''''''.''''''''''5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.5%</a:t>
            </a:fld>
            <a:endParaRPr lang="zh-CN" altLang="en-US" sz="10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DAEC984-2805-835F-3AD1-6399556718F3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337343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764DD8-A49C-4B2D-8347-87ECC514F20E}" type="datetime'''''''''''''''''''''''''F''Y''''''''''''''2''''''6Q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BD8D3E9E-79CB-D91D-A0E7-60678AA20F84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4440238" y="692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A89C04-0297-46CB-ADF1-7DE8F4059D1A}" type="datetime'''''7''6''''''''''''.''''''''''''''5''''''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%</a:t>
            </a:fld>
            <a:endParaRPr lang="zh-CN" altLang="en-US" sz="1000" b="1" dirty="0"/>
          </a:p>
        </p:txBody>
      </p:sp>
      <p:sp useBgFill="1">
        <p:nvSpPr>
          <p:cNvPr id="231" name="Text Placeholder 2">
            <a:extLst>
              <a:ext uri="{FF2B5EF4-FFF2-40B4-BE49-F238E27FC236}">
                <a16:creationId xmlns:a16="http://schemas.microsoft.com/office/drawing/2014/main" id="{AA630DFD-562B-68BF-DC8D-36D794D63FE5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440238" y="77724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38AB08-D7F9-41CE-A865-09113A93EB49}" type="datetime'''4''1''''''''''''''''''''''''.''''''4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4%</a:t>
            </a:fld>
            <a:endParaRPr lang="zh-CN" altLang="en-US" sz="1000" b="1" dirty="0"/>
          </a:p>
        </p:txBody>
      </p:sp>
      <p:sp useBgFill="1">
        <p:nvSpPr>
          <p:cNvPr id="232" name="Text Placeholder 2">
            <a:extLst>
              <a:ext uri="{FF2B5EF4-FFF2-40B4-BE49-F238E27FC236}">
                <a16:creationId xmlns:a16="http://schemas.microsoft.com/office/drawing/2014/main" id="{594DD9F5-B1EE-955C-E770-78F63FCED45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440238" y="80708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04698B-F75A-44E3-A2D8-E5B1D4907DFD}" type="datetime'''''''''3''''''''''''''9''''.1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%</a:t>
            </a:fld>
            <a:endParaRPr lang="zh-CN" altLang="en-US" sz="1000" b="1" dirty="0"/>
          </a:p>
        </p:txBody>
      </p:sp>
      <p:sp useBgFill="1">
        <p:nvSpPr>
          <p:cNvPr id="233" name="Text Placeholder 2">
            <a:extLst>
              <a:ext uri="{FF2B5EF4-FFF2-40B4-BE49-F238E27FC236}">
                <a16:creationId xmlns:a16="http://schemas.microsoft.com/office/drawing/2014/main" id="{5CFD6534-3382-3E9E-95BA-58C2F08B9943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4440238" y="77993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C4397-42BF-412F-B5D3-0D6CCAC0F352}" type="datetime'''40''''.''''''''''''''''3''''''''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b="1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44575D5A-BF44-1470-F4C5-88CE84F62DC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1101725" y="7889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1D87FB-9DAC-416F-B399-ECDF5DDFBFD7}" type="datetime'''''''''''''''''''4''''''''''''''''''''''1''.''''''5''%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.5%</a:t>
            </a:fld>
            <a:endParaRPr lang="zh-CN" altLang="en-US" sz="1000" b="1" dirty="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7C0A1233-5681-97BF-6E50-FE4ECC1A2D06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331913" y="68976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822FE-4723-447D-B4C7-4038D2B308E6}" type="datetime'''''7''''''''''7''''''.''''''''''''''''''''8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8%</a:t>
            </a:fld>
            <a:endParaRPr lang="zh-CN" altLang="en-US" sz="1000" b="1" dirty="0"/>
          </a:p>
        </p:txBody>
      </p:sp>
      <p:sp useBgFill="1">
        <p:nvSpPr>
          <p:cNvPr id="321" name="Text Placeholder 2">
            <a:extLst>
              <a:ext uri="{FF2B5EF4-FFF2-40B4-BE49-F238E27FC236}">
                <a16:creationId xmlns:a16="http://schemas.microsoft.com/office/drawing/2014/main" id="{A249D570-C311-B7E3-1485-E450FADE2AC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5491163" y="908843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D1FE8D-245E-47C9-8FC5-EF318BC99208}" type="datetime'''''''''''''''''''-''8''''.''''''''''''''''''4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.4%</a:t>
            </a:fld>
            <a:endParaRPr lang="zh-CN" altLang="en-US" sz="1000" b="1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B794B5F-B43D-0975-434B-52B89107CDED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5553075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D5EE6D-5362-49E3-BC0B-92229C275602}" type="datetime'''''''2''''''月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0BA429C8-BACE-3223-8327-A0D900DB2A19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6513513" y="69167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CE757-D31C-4E52-8DB7-6D798CBE4F00}" type="datetime'''''''''''''''7''''''''''''''''''''''''7.''0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.0%</a:t>
            </a:fld>
            <a:endParaRPr lang="zh-CN" altLang="en-US" sz="1000" b="1" dirty="0"/>
          </a:p>
        </p:txBody>
      </p:sp>
      <p:sp useBgFill="1">
        <p:nvSpPr>
          <p:cNvPr id="323" name="Text Placeholder 2">
            <a:extLst>
              <a:ext uri="{FF2B5EF4-FFF2-40B4-BE49-F238E27FC236}">
                <a16:creationId xmlns:a16="http://schemas.microsoft.com/office/drawing/2014/main" id="{14679287-3FA1-BB93-743D-B4D503D425D8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6513513" y="72104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7AB3-3B1C-407B-861D-22DD6501860C}" type="datetime'''''''''7''''''''''''''''''''4''.''''''''''9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9%</a:t>
            </a:fld>
            <a:endParaRPr lang="zh-CN" altLang="en-US" sz="1000" b="1" dirty="0"/>
          </a:p>
        </p:txBody>
      </p:sp>
      <p:sp useBgFill="1">
        <p:nvSpPr>
          <p:cNvPr id="234" name="Text Placeholder 2">
            <a:extLst>
              <a:ext uri="{FF2B5EF4-FFF2-40B4-BE49-F238E27FC236}">
                <a16:creationId xmlns:a16="http://schemas.microsoft.com/office/drawing/2014/main" id="{60DCDCDE-DE91-7B3A-F78F-F1D4F0E26FD3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6513513" y="798512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3665F0-0A5C-4BC3-A02E-6ECF2DB67B4C}" type="datetime'''''''''''''4''2''''''.''''''''''''''6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b="1" dirty="0"/>
          </a:p>
        </p:txBody>
      </p:sp>
      <p:sp useBgFill="1">
        <p:nvSpPr>
          <p:cNvPr id="235" name="Text Placeholder 2">
            <a:extLst>
              <a:ext uri="{FF2B5EF4-FFF2-40B4-BE49-F238E27FC236}">
                <a16:creationId xmlns:a16="http://schemas.microsoft.com/office/drawing/2014/main" id="{797EE78A-9753-1BA0-A1B1-6C2DA42B7161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6283325" y="7621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40C3E7-6087-4A49-BF02-C9EE9D69D8F7}" type="datetime'''''''''''''''''''''''5''''2''''''.''''''''''''7''%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2.7%</a:t>
            </a:fld>
            <a:endParaRPr lang="zh-CN" altLang="en-US" sz="10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42F8D311-7E6F-4477-17A1-839727351EF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589713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6CE807-F47E-46DE-B463-04BBF1A07AF9}" type="datetime'3''''月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C675B48C-1702-8807-FC1D-F918F497EAAA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7550150" y="6975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830D4-CFC8-4B8A-A6F4-28911A40FA91}" type="datetime'''''''''''''''''7''''''''''4.6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6%</a:t>
            </a:fld>
            <a:endParaRPr lang="zh-CN" altLang="en-US" sz="1000" b="1" dirty="0"/>
          </a:p>
        </p:txBody>
      </p:sp>
      <p:sp useBgFill="1">
        <p:nvSpPr>
          <p:cNvPr id="236" name="Text Placeholder 2">
            <a:extLst>
              <a:ext uri="{FF2B5EF4-FFF2-40B4-BE49-F238E27FC236}">
                <a16:creationId xmlns:a16="http://schemas.microsoft.com/office/drawing/2014/main" id="{2B3F894D-1322-5D86-909D-C929B11FABE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7550150" y="7546975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1837AE-1B18-481A-BDCA-800D5B3E6C80}" type="datetime'50''''.''''''''''''''8''''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8%</a:t>
            </a:fld>
            <a:endParaRPr lang="zh-CN" altLang="en-US" sz="1000" b="1" dirty="0"/>
          </a:p>
        </p:txBody>
      </p:sp>
      <p:sp useBgFill="1">
        <p:nvSpPr>
          <p:cNvPr id="238" name="Text Placeholder 2">
            <a:extLst>
              <a:ext uri="{FF2B5EF4-FFF2-40B4-BE49-F238E27FC236}">
                <a16:creationId xmlns:a16="http://schemas.microsoft.com/office/drawing/2014/main" id="{D714F198-3F44-1DC8-6C90-C11987CD495A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7319963" y="77835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5FED36-499C-404D-B930-8888AEE522B3}" type="datetime'''''4''6''.''''0%''''''''''''''''''''''''''''''''''''''''''''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b="1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0A5DFB3-6587-14C9-BDF0-A1DB122EF862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1331913" y="8132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487565-CCF6-41A8-B962-EECEB69261F4}" type="datetime'''''''''''''''3''''''''''''6''''''''''.5''''''''''''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D25E7F5-3CDE-51ED-313A-5F8B67587C6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7626350" y="926782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F5C79-2BE3-4D1E-B977-87F7910ED9F7}" type="datetime'''''''''''''''''''''''''4''月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325" name="Text Placeholder 2">
            <a:extLst>
              <a:ext uri="{FF2B5EF4-FFF2-40B4-BE49-F238E27FC236}">
                <a16:creationId xmlns:a16="http://schemas.microsoft.com/office/drawing/2014/main" id="{28E8E794-E4FB-AF8C-2DD5-FDA56644412F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gray">
          <a:xfrm>
            <a:off x="8585200" y="6870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C6EEB-5BCD-49E6-997F-4C924F426796}" type="datetime'''78''''''.9''%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9%</a:t>
            </a:fld>
            <a:endParaRPr lang="zh-CN" altLang="en-US" sz="1000" b="1" dirty="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9BF3C40B-7838-5FF8-C6E9-D929E92FC722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8585200" y="84232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19F03-15ED-4CB0-A660-F1CAE0E1FDFD}" type="datetime'''''''''''''''2''4''.''''''''''''''''4%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4%</a:t>
            </a:fld>
            <a:endParaRPr lang="zh-CN" altLang="en-US" sz="1000" b="1" dirty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CCC65C8C-341A-214A-942A-F5B6502996A8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8585200" y="79819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1D2FC-95F6-495E-90CC-A2CA3E285DCF}" type="datetime'''''''''32.''''''''''''''''''''''''7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7%</a:t>
            </a:fld>
            <a:endParaRPr lang="zh-CN" altLang="en-US" sz="10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230FB558-1CEB-0B1D-CED9-50B2D3DC472F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8816975" y="8147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4A595A-1EC8-4BFF-9981-3F590E3CC050}" type="datetime'''''3''''''0''.8''''''''''''''''''''%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8%</a:t>
            </a:fld>
            <a:endParaRPr lang="zh-CN" altLang="en-US" sz="1000" b="1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A56BEB96-6962-1A2F-0AAA-ADD759DDC29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1331913" y="75168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DB5863-A40B-4214-943D-B0DCFFDFDBF6}" type="datetime'''''''''52''.''''''''''''''''''''''''''0''''''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0%</a:t>
            </a:fld>
            <a:endParaRPr lang="zh-CN" altLang="en-US" sz="10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2BB1F52-BB32-8E9B-FB00-AD7EFCD1740F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8553450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C7964E-41CD-4864-BACE-361596BBF9CD}" type="datetime'5''''''月''''''m''''''''''''''''''''''''''''''''t''''d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6ACE745-A1DD-5F6C-8273-10ECF7CEE19F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4408488" y="92678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88DACA-D610-47FB-B065-A89E9DBD3915}" type="datetime'''''F''''''''''''''Y''''''''''''''''''27Q''''1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cxnSp>
        <p:nvCxnSpPr>
          <p:cNvPr id="344" name="直线连接符 343">
            <a:extLst>
              <a:ext uri="{FF2B5EF4-FFF2-40B4-BE49-F238E27FC236}">
                <a16:creationId xmlns:a16="http://schemas.microsoft.com/office/drawing/2014/main" id="{78136D36-B2D9-572D-F7F9-A1A0B3AFF262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950913" y="11977688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直线连接符 337">
            <a:extLst>
              <a:ext uri="{FF2B5EF4-FFF2-40B4-BE49-F238E27FC236}">
                <a16:creationId xmlns:a16="http://schemas.microsoft.com/office/drawing/2014/main" id="{7F455BB7-47EB-B315-CE9B-64AAE1ADD9D6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8096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直线连接符 341">
            <a:extLst>
              <a:ext uri="{FF2B5EF4-FFF2-40B4-BE49-F238E27FC236}">
                <a16:creationId xmlns:a16="http://schemas.microsoft.com/office/drawing/2014/main" id="{0CDC5088-2EB4-C782-0D5C-28A2A0B2A173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950913" y="11723688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直线连接符 339">
            <a:extLst>
              <a:ext uri="{FF2B5EF4-FFF2-40B4-BE49-F238E27FC236}">
                <a16:creationId xmlns:a16="http://schemas.microsoft.com/office/drawing/2014/main" id="{9155BCB0-7E6E-C07F-3B3B-D76E19BD8BDD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80963" y="11977688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0440638E-E060-B263-B966-46F74F4150E8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48418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DF4371-8EE7-4E43-810E-1823CF860092}" type="datetime'''''''''''''''''''''''''''''''电''''''销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F9C37EA-83F8-09EB-0F4F-623308EE52E0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484188" y="11895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8EFC6D-BF8D-4D1A-AF8F-D4A800B41E98}" type="datetime'''''''''''''''''''''''渠''''''''道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0F31D9D8-583E-370B-985B-D04D8EFA4BCA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354138" y="11895138"/>
            <a:ext cx="168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283283-F7EA-486B-B787-40E3FAFA56B3}" type="datetime'a''''''''''''''''''''''''''''''''''''l''''''l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kumimoji="1" lang="zh-CN" altLang="en-US" sz="1400" dirty="0"/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DF79A4D2-F5B2-C27B-EEE6-F30CA21E0F1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354138" y="11641138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C0ADEE-FC49-4D0D-8237-45CF71144C4A}" type="datetime'''直''''''''''''''''''''''''''''''''''''''营'''''''''''''">
              <a:rPr kumimoji="1" lang="zh-CN" altLang="en-US" sz="140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E5ED3896-850F-3BCC-CCF6-B7A947977F20}"/>
              </a:ext>
            </a:extLst>
          </p:cNvPr>
          <p:cNvSpPr txBox="1"/>
          <p:nvPr/>
        </p:nvSpPr>
        <p:spPr>
          <a:xfrm>
            <a:off x="9868696" y="2879727"/>
            <a:ext cx="1831079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总收入</a:t>
            </a:r>
            <a:r>
              <a:rPr kumimoji="1" lang="en-US" altLang="zh-CN" b="1" dirty="0"/>
              <a:t>by</a:t>
            </a:r>
            <a:r>
              <a:rPr kumimoji="1" lang="zh-CN" altLang="en-US" b="1" dirty="0"/>
              <a:t>团队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B64C79F-637C-1DD9-C7B2-D4FA6C7B2E02}"/>
              </a:ext>
            </a:extLst>
          </p:cNvPr>
          <p:cNvSpPr txBox="1"/>
          <p:nvPr/>
        </p:nvSpPr>
        <p:spPr>
          <a:xfrm>
            <a:off x="10133808" y="6155812"/>
            <a:ext cx="1409617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分团队</a:t>
            </a:r>
            <a:r>
              <a:rPr kumimoji="1" lang="en-US" altLang="zh-CN" b="1" dirty="0"/>
              <a:t>yoy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39381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E7E73-A428-B97A-638A-EE8ACC7EB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9B2DF0-ED90-407E-0208-8DA58F7D33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869854"/>
              </p:ext>
            </p:extLst>
          </p:nvPr>
        </p:nvGraphicFramePr>
        <p:xfrm>
          <a:off x="6301186" y="3738168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0" imgW="7772400" imgH="10058400" progId="TCLayout.ActiveDocument.1">
                  <p:embed/>
                </p:oleObj>
              </mc:Choice>
              <mc:Fallback>
                <p:oleObj name="think-cell 幻灯片" r:id="rId13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E73-60E5-4F7C-D79C-83512DAB8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6301186" y="3738168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4736AE89-9A65-6377-16BF-DE3CA5056F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957346"/>
              </p:ext>
            </p:extLst>
          </p:nvPr>
        </p:nvGraphicFramePr>
        <p:xfrm>
          <a:off x="514350" y="1096963"/>
          <a:ext cx="2686050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604" name="直线连接符 603">
            <a:extLst>
              <a:ext uri="{FF2B5EF4-FFF2-40B4-BE49-F238E27FC236}">
                <a16:creationId xmlns:a16="http://schemas.microsoft.com/office/drawing/2014/main" id="{E8425477-378B-D4B4-293B-C610DE753BB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011488" y="1997075"/>
            <a:ext cx="6032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EFB6202A-5144-47BB-F96E-B4BCFC8814E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41350" y="2473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21248-2D0C-4123-A758-A74447104419}" type="datetime'''''''''7''''''''''''2''''''''''.''''''''''''''8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8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E045A586-9150-DEC3-29B8-DF60787E2D8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663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5B43E-FF3A-44A5-B442-E5231B1ED2D0}" type="datetime'F''''Y''''''26''''''Q''''''''''''''''''2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15105D0-91CC-6657-7A5E-303FE965831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295400" y="11953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753AF-E59C-4AFC-97EA-EA044F232FA8}" type="datetime'''''''''''''''''''''0''''''''.''4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D49F1C-D7EE-0F85-B94E-016FC499063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60475" y="1400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BAA06A-EDD8-419F-9604-445123F81720}" type="datetime'''''2''''''''''''''7''''''''''.6''''''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6%</a:t>
            </a:fld>
            <a:endParaRPr lang="zh-CN" altLang="en-US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5361584-88C6-9ED2-A638-71890C920F2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260475" y="2416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F4627-257A-43CE-A212-D13CA56454DD}" type="datetime'''''''''7''''''''''''''''''''''2''''''''''.''''''''''1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1%</a:t>
            </a:fld>
            <a:endParaRPr lang="zh-CN" altLang="en-US" sz="1000" dirty="0"/>
          </a:p>
        </p:txBody>
      </p:sp>
      <p:sp>
        <p:nvSpPr>
          <p:cNvPr id="43" name="文本占位符 2">
            <a:extLst>
              <a:ext uri="{FF2B5EF4-FFF2-40B4-BE49-F238E27FC236}">
                <a16:creationId xmlns:a16="http://schemas.microsoft.com/office/drawing/2014/main" id="{BEBC6884-37B8-E9BD-228A-7649710223B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87450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8DFF9-5986-4DF6-AF49-BED4AD98254B}" type="datetime'''''''F''''''Y''''''''2''''''''''''6Q''''3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6B5B57-F58A-114A-B876-A8B61B969CF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28838" y="13477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2B8F6C-3415-4E68-BA02-09E2207F97D2}" type="datetime'0''''''''.''''''''''''''''3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D89EA53-AF6A-EA1C-726E-E98F1E5EDDB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00263" y="1647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2599FC-FE50-4E0E-AEE6-BB85999BF982}" type="datetime'''''''''''''2''''''''9''''''.''''5''''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.5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CA18B3F-70A6-275C-59D2-8D4A03ADBC9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01850" y="2471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33DA9-2389-41FC-9771-EDAAE4A27B81}" type="datetime'''''''''''''70''''''''''''.1''''''%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1%</a:t>
            </a:fld>
            <a:endParaRPr lang="zh-CN" altLang="en-US" sz="10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1CC49A4-30A4-E217-28C4-CB133BA44DF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14350" y="13858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BE3950-61CE-48BF-8051-DBAD4ED896D7}" type="datetime'0.''3''''''''''%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BACB5C-70AB-C883-1D62-055103221F4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790825" y="2049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EA050-6F0A-4642-BC62-7C47FF6213EA}" type="datetime'''''0''''''''''''.''''''''''''''''''4''''''%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32EA88C-B9C4-CED6-C943-FB1918883A9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41350" y="15462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81EA1-D66D-4BDC-A4C2-14065AA6AA4D}" type="datetime'''''''''''''''''''''''''2''''''6.9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9%</a:t>
            </a:fld>
            <a:endParaRPr lang="zh-CN" altLang="en-US" sz="1000" dirty="0">
              <a:ea typeface="等线" panose="02010600030101010101" pitchFamily="2" charset="-122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A6BD552-9FAD-9CE8-FE31-AE62D3CAB9C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760663" y="223202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B73FB1-52CB-43D6-8682-7EECABCDDC89}" type="datetime'28''''''''''''''''''''''''''''''''''.''''6''''%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6%</a:t>
            </a:fld>
            <a:endParaRPr lang="zh-CN" altLang="en-US" sz="10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77BE60E-38BC-D1CA-6416-9504C40E11C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720975" y="27305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D6A97-751B-4667-AEE5-5C42882089DA}" type="datetime'''''''''7''''''''''''''''''1''''.''0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dirty="0"/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1175FC0C-57BE-1B73-93A3-9C0E93EBAA8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801938" y="3268663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0D27CB-1019-4CB7-AE72-17FE2C6847A8}" type="datetime'FY''''''''''''2''''''''''''''''7''''''''''''Q1''''''''td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8E15C6E2-EB64-135B-A4ED-7A96A381E1F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346075" y="1146175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1EF1F-7385-4558-B2E2-DDD0B11BA0A6}" type="datetime'''''''''''18''''''''''5''''2''''''''''2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522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754D4B0-2DE7-54A3-81AD-6268573892F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85863" y="9652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7D895-4035-4150-A44C-D26B661F7675}" type="datetime'20''''''''''''''3''''''''''''''''''''''''''''''21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1</a:t>
            </a:fld>
            <a:endParaRPr kumimoji="1" lang="zh-CN" altLang="en-US" sz="14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E60089-C418-5362-348F-F4DEB9B0CCC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027238" y="1069975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C2714-B831-46E4-95E8-0213D6340AB6}" type="datetime'''''1''''''''''''''''9''''''''2''''''''7''''''''''6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76</a:t>
            </a:fld>
            <a:endParaRPr kumimoji="1" lang="zh-CN" altLang="en-US" sz="1400" dirty="0"/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87051402-CE9F-C155-7A59-9A0A0C41DDF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867025" y="1822450"/>
            <a:ext cx="5032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348B61-2C17-4219-A0F7-6CC8FAC4C27B}" type="datetime'''1''''''1''''''''''7''''7''''''''''''''''9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779</a:t>
            </a:fld>
            <a:endParaRPr kumimoji="1" lang="zh-CN" altLang="en-US" sz="1400" dirty="0"/>
          </a:p>
        </p:txBody>
      </p:sp>
      <p:sp>
        <p:nvSpPr>
          <p:cNvPr id="39" name="文本占位符 2">
            <a:extLst>
              <a:ext uri="{FF2B5EF4-FFF2-40B4-BE49-F238E27FC236}">
                <a16:creationId xmlns:a16="http://schemas.microsoft.com/office/drawing/2014/main" id="{9D8614F9-B7DA-F476-C993-E12F6F17B53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028825" y="3268663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5D22D7-9AA4-4819-944F-53D8B0B6271D}" type="datetime'''''''''''FY''''26''''''''''''''''''''''''''Q''''''''4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9A1B5BB8-A81E-C427-24CF-E8970FF90805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7406448"/>
              </p:ext>
            </p:extLst>
          </p:nvPr>
        </p:nvGraphicFramePr>
        <p:xfrm>
          <a:off x="7754938" y="942975"/>
          <a:ext cx="2546350" cy="2287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275" name="直线连接符 274">
            <a:extLst>
              <a:ext uri="{FF2B5EF4-FFF2-40B4-BE49-F238E27FC236}">
                <a16:creationId xmlns:a16="http://schemas.microsoft.com/office/drawing/2014/main" id="{144A352E-A0E2-AC43-8D70-897EF9FD0F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8580438" y="1028700"/>
            <a:ext cx="50800" cy="88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6AD930CC-1BE1-DFE1-9FC5-1A8F97B05F7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7881938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62B5E0-65B7-4136-884D-7A540BDE34E3}" type="datetime'''''''''''''''''''''''7''''''''''1''''.''''8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8%</a:t>
            </a:fld>
            <a:endParaRPr lang="zh-CN" altLang="en-US" sz="1000" dirty="0"/>
          </a:p>
        </p:txBody>
      </p:sp>
      <p:sp>
        <p:nvSpPr>
          <p:cNvPr id="239" name="文本占位符 2">
            <a:extLst>
              <a:ext uri="{FF2B5EF4-FFF2-40B4-BE49-F238E27FC236}">
                <a16:creationId xmlns:a16="http://schemas.microsoft.com/office/drawing/2014/main" id="{76667F64-6B7F-F26E-6060-38B9EABDAFD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7168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77A5B-4224-40C5-8F30-9D83689B8C49}" type="datetime'''''''''''2''''''''月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4820764B-EC03-32F5-0D61-203DC5C1D2C4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399463" y="1117600"/>
            <a:ext cx="28733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1DE005-B0C6-48B3-9325-E30D859CE9C7}" type="datetime'''''0''''''''''''''''.3''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3B91184-533C-E835-D1CB-D308592412D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881938" y="223996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DDD5E-03D3-48CA-8849-BD5ECD8923B2}" type="datetime'2''''''''''''''''''''7''''''.''''''''''9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9%</a:t>
            </a:fld>
            <a:endParaRPr lang="zh-CN" altLang="en-US" sz="1000" dirty="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FCE9BE95-43D0-C2E6-4CEE-0EC05150B67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8472488" y="14255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1B87-8F73-479E-80D8-90B9D2F54D78}" type="datetime'''''2''''''''''''''''8''''.''''''''''''3''%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8.3%</a:t>
            </a:fld>
            <a:endParaRPr lang="zh-CN" altLang="en-US" sz="10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B0C8BDE4-D21A-128A-67EF-5B456E044C9F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455025" y="23225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A9FC6F-9512-4EA0-AEB1-EE53894F2087}" type="datetime'7''''''''''''''1''.3''''''''''''''''''''%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3%</a:t>
            </a:fld>
            <a:endParaRPr lang="zh-CN" altLang="en-US" sz="1000" dirty="0"/>
          </a:p>
        </p:txBody>
      </p:sp>
      <p:sp>
        <p:nvSpPr>
          <p:cNvPr id="243" name="文本占位符 2">
            <a:extLst>
              <a:ext uri="{FF2B5EF4-FFF2-40B4-BE49-F238E27FC236}">
                <a16:creationId xmlns:a16="http://schemas.microsoft.com/office/drawing/2014/main" id="{912AC64F-142E-3AB7-93F8-F80441B4819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51058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865874-E3F6-440D-991F-12FEF04A4902}" type="datetime'''''''''''''''''3''''''''''''月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0818661E-4A20-1B47-B6CA-C39E7F66828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9247188" y="1228725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FA0F41-789E-490B-A89C-FE7BD35EEE7A}" type="datetime'''''''''''''''''''''''''0''''''.''''''''4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A73BCBE-DD27-67B2-263C-3D6B443F799F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9250363" y="1555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1A8051-00F2-439B-8B5D-CB5826530454}" type="datetime'''''3''''''''''''''''''0''.''''''''4''''''''''''''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4%</a:t>
            </a:fld>
            <a:endParaRPr lang="zh-CN" altLang="en-US" sz="10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F64D47A-1546-D907-88D5-2DBC2698AF4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785100" y="21161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1D3F93-8C7A-4B28-81E2-6D35A5733B49}" type="datetime'''0.''''''''3''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7" name="文本占位符 2">
            <a:extLst>
              <a:ext uri="{FF2B5EF4-FFF2-40B4-BE49-F238E27FC236}">
                <a16:creationId xmlns:a16="http://schemas.microsoft.com/office/drawing/2014/main" id="{3AF5EDC2-3639-AEB0-CE62-912D2FEAAB43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304338" y="3198813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9F214-2197-4257-96AB-67AEC7FA68FA}" type="datetime'''''4''''''''''''''''''''''''''''''''''''''''''''月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DE90C061-87C2-AC6B-4488-F8B096BC10B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9923463" y="20970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7A0F09-D056-441C-914B-8A97490E521E}" type="datetime'''''''''''''''''''''0''.''''''''''''''4''''''%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7EC98D38-C9FC-9F53-F148-09FA8F507DD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923463" y="2301875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D38451-6E9A-4272-A396-DB6A932B7E6D}" type="datetime'2''''''''''5.''''''''''''''''3''''''''''''''%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.3%</a:t>
            </a:fld>
            <a:endParaRPr lang="zh-CN" altLang="en-US" sz="1000" dirty="0"/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3609788E-3D58-9EDA-775F-E8E2F2F2855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9821863" y="26987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82B66-84B2-4FBD-AAAC-B84FE6EBB3F4}" type="datetime'''''''''''''''74''''''''''''''''.''''''''''''''3''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%</a:t>
            </a:fld>
            <a:endParaRPr lang="zh-CN" altLang="en-US" sz="1000" dirty="0"/>
          </a:p>
        </p:txBody>
      </p:sp>
      <p:sp>
        <p:nvSpPr>
          <p:cNvPr id="252" name="文本占位符 2">
            <a:extLst>
              <a:ext uri="{FF2B5EF4-FFF2-40B4-BE49-F238E27FC236}">
                <a16:creationId xmlns:a16="http://schemas.microsoft.com/office/drawing/2014/main" id="{1F42DDFE-7E3B-1A31-8AB3-56CE3299936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969500" y="3198813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22E4C-3000-426E-B25F-9506F0B238B2}" type="datetime'5月''m''t''''''''d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253" name="Text Placeholder 2">
            <a:extLst>
              <a:ext uri="{FF2B5EF4-FFF2-40B4-BE49-F238E27FC236}">
                <a16:creationId xmlns:a16="http://schemas.microsoft.com/office/drawing/2014/main" id="{E8A99B65-511B-2C7D-9E96-77C129158969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31113" y="195421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2D6976-0A1F-4DD9-B097-B03471BE6093}" type="datetime'''''''3''''''''''''''''''''''''''''''''''''8''''''''''9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92</a:t>
            </a:fld>
            <a:endParaRPr kumimoji="1" lang="zh-CN" altLang="en-US" sz="1400" dirty="0"/>
          </a:p>
        </p:txBody>
      </p:sp>
      <p:sp useBgFill="1">
        <p:nvSpPr>
          <p:cNvPr id="254" name="Text Placeholder 2">
            <a:extLst>
              <a:ext uri="{FF2B5EF4-FFF2-40B4-BE49-F238E27FC236}">
                <a16:creationId xmlns:a16="http://schemas.microsoft.com/office/drawing/2014/main" id="{2CE7FBC1-E340-0A42-87FF-0EEA44FB84C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415338" y="8953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9E707-C3DC-4B81-BC95-65A88B606F2E}" type="datetime'''''''''''8''''4''''3''''''''''''''''4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34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6B92B73E-4703-5779-1D80-632CA5EC469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218613" y="99377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98C94-6E32-442C-A943-07BEBC68D4A7}" type="datetime'7''''''''''''''7''''''''0''''6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06</a:t>
            </a:fld>
            <a:endParaRPr kumimoji="1" lang="zh-CN" altLang="en-US" sz="1400" dirty="0"/>
          </a:p>
        </p:txBody>
      </p:sp>
      <p:sp useBgFill="1">
        <p:nvSpPr>
          <p:cNvPr id="256" name="Text Placeholder 2">
            <a:extLst>
              <a:ext uri="{FF2B5EF4-FFF2-40B4-BE49-F238E27FC236}">
                <a16:creationId xmlns:a16="http://schemas.microsoft.com/office/drawing/2014/main" id="{52C06F19-C909-09F1-0944-8E3DE2DC99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012363" y="19081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AE17-DED9-40F2-BC8B-3080ED230C6B}" type="datetime'''''''''''''4''''''''''''''0''''''''73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73</a:t>
            </a:fld>
            <a:endParaRPr kumimoji="1" lang="zh-CN" altLang="en-US" sz="1400" dirty="0"/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E5085A9-8891-8B13-8AFE-8575747DDC1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248775" y="24082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03FBD-589B-4F32-AF1F-0B8D3FB5067C}" type="datetime'''''''''''''6''''9''''''''''''''''''.''''''2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2%</a:t>
            </a:fld>
            <a:endParaRPr lang="zh-CN" altLang="en-US" sz="1000" dirty="0"/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C4D92C19-C3DF-74A9-8FE8-A6CF39941260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75005400"/>
              </p:ext>
            </p:extLst>
          </p:nvPr>
        </p:nvGraphicFramePr>
        <p:xfrm>
          <a:off x="14500225" y="1096963"/>
          <a:ext cx="2847975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8774917C-0AE1-64A2-5510-A5610A763B3C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4627225" y="1771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1A700-EDF9-4C4C-B76E-3AA6A5551DAD}" type="datetime'''''''''''''''''''3''''''''''3''''''''.''''''8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.8%</a:t>
            </a:fld>
            <a:endParaRPr lang="zh-CN" altLang="en-US" sz="10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88DC3794-27D3-466E-4DF3-A6A4D11E2485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4627225" y="26019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44AB00-681A-420E-81A5-4D1B4E9738CF}" type="datetime'''''''''''65''''.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%</a:t>
            </a:fld>
            <a:endParaRPr lang="zh-CN" altLang="en-US" sz="1000" dirty="0"/>
          </a:p>
        </p:txBody>
      </p:sp>
      <p:sp>
        <p:nvSpPr>
          <p:cNvPr id="289" name="文本占位符 2">
            <a:extLst>
              <a:ext uri="{FF2B5EF4-FFF2-40B4-BE49-F238E27FC236}">
                <a16:creationId xmlns:a16="http://schemas.microsoft.com/office/drawing/2014/main" id="{E1627C50-3A31-B78C-3FC1-C58C66DF6CB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4468475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88413-88B6-4B6B-B06F-0B3EBDCA5179}" type="datetime'''''''''''''W''''''''''''''4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8742EE0D-0CC5-0B6E-A41E-5675FCAEE77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15336838" y="12398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BCFE4D-17A2-473B-A46C-81A563017262}" type="datetime'''''''''''''''''0''''''.2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341AB824-1F3C-3407-7E00-AD1AF89FE7F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5317788" y="16446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34922B-5F64-4FFB-BC95-32E4EA68331A}" type="datetime'''''''''''''''''''''''''''''''''''3''''''''''6.''1''%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.1%</a:t>
            </a:fld>
            <a:endParaRPr lang="zh-CN" altLang="en-US" sz="1000" dirty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C46A85D9-F88C-A5DD-C0CC-1370207EBB5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5300325" y="2500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B8423-4319-4CD5-A34E-391F5FAE9DAE}" type="datetime'''''''''6''3''.''''''''''''''7''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7%</a:t>
            </a:fld>
            <a:endParaRPr lang="zh-CN" altLang="en-US" sz="1000" dirty="0"/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12226DAC-EAA2-C1FA-FF60-D5E7DB00870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536223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2668D-F8E8-4360-A7AA-2BE0D644C4EC}" type="datetime'''''''''''''''''''''''''''''''''''''''W''3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ADA10989-C850-F557-9CB4-1503654BC4F7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6227425" y="166370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138901-2B0B-4651-82E2-AF5C65CD4FE6}" type="datetime'''0''''''.''''''''''''''''''''''''''''''6''''''''''''''''%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6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3116BED0-5114-4381-51EF-995E4D535D0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6197263" y="1916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572273-F7C4-4053-85E1-1F9F485ACBF2}" type="datetime'''''''''''''24''''''''''''''.''''''''''''''''''''9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dirty="0"/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C3F1C5D2-7B7F-5D06-663A-538BACB1F2B7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4546263" y="15382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79BF15-19FF-427F-8A48-5668137405E7}" type="datetime'''''''''''''''''0.''''''5''''''''''''''''''''''''''''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7" name="文本占位符 2">
            <a:extLst>
              <a:ext uri="{FF2B5EF4-FFF2-40B4-BE49-F238E27FC236}">
                <a16:creationId xmlns:a16="http://schemas.microsoft.com/office/drawing/2014/main" id="{D4F5A6F1-E332-69F7-E3B5-F85FB73530E3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6257588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5BA89E-9BA7-42AF-8FB8-C689E3A7C4E0}" type="datetime'''''''''W''''''''''''''''''''''''''2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B2635521-33B4-7830-3942-42AC582C87C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968788" y="17208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E43B5C-D933-451C-9A55-922653AB4EDD}" type="datetime'''0''''''.''''''''''''4''''''''''''''''''''%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4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33A35628-E2D7-89AB-22D4-976C22A1E6C1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868775" y="18700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6CC37-3232-4A96-B45C-76A1A09DE267}" type="datetime'''''''2''''''''7''''''.''''''''''2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dirty="0"/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E83C1836-30B3-809C-B236-1EE9305779B3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6868775" y="2611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0E2AA9-F4D1-4AAF-9660-A9A1838E9C68}" type="datetime'''''7''''''2''''''''''.''4%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4%</a:t>
            </a:fld>
            <a:endParaRPr lang="zh-CN" altLang="en-US" sz="1000" dirty="0"/>
          </a:p>
        </p:txBody>
      </p:sp>
      <p:sp>
        <p:nvSpPr>
          <p:cNvPr id="301" name="文本占位符 2">
            <a:extLst>
              <a:ext uri="{FF2B5EF4-FFF2-40B4-BE49-F238E27FC236}">
                <a16:creationId xmlns:a16="http://schemas.microsoft.com/office/drawing/2014/main" id="{2F89934B-3981-39FF-F015-15DE6B94A40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7151350" y="326866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1561F-79DD-45BA-BFBB-370E42C08A75}" type="datetime'''''''''''''''''''''''''''W''''''''''''1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 useBgFill="1">
        <p:nvSpPr>
          <p:cNvPr id="302" name="Text Placeholder 2">
            <a:extLst>
              <a:ext uri="{FF2B5EF4-FFF2-40B4-BE49-F238E27FC236}">
                <a16:creationId xmlns:a16="http://schemas.microsoft.com/office/drawing/2014/main" id="{AF420D37-B04E-20BD-25D1-39CF7A52635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4376400" y="13350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6F76C-6C08-4812-AEB7-D384804B1C43}" type="datetime'''''''1''''''''7''''''''7''''''''''8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78</a:t>
            </a:fld>
            <a:endParaRPr kumimoji="1" lang="zh-CN" altLang="en-US" sz="1400" dirty="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7B0D0F83-1C26-61C4-2F58-96C0853CAF9B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5270163" y="96520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64C448-4E84-454E-AA0C-3CEB0CA51B99}" type="datetime'2''''1''''''''''7''''''''''''''''''''2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2</a:t>
            </a:fld>
            <a:endParaRPr kumimoji="1" lang="zh-CN" altLang="en-US" sz="1400" dirty="0"/>
          </a:p>
        </p:txBody>
      </p:sp>
      <p:sp useBgFill="1">
        <p:nvSpPr>
          <p:cNvPr id="304" name="Text Placeholder 2">
            <a:extLst>
              <a:ext uri="{FF2B5EF4-FFF2-40B4-BE49-F238E27FC236}">
                <a16:creationId xmlns:a16="http://schemas.microsoft.com/office/drawing/2014/main" id="{EFC5199A-C6C3-FD10-AFC9-647BAFE1D4D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6165513" y="145415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02320-72A7-4FED-B036-7C44AC04AF77}" type="datetime'''1''''''''''''65''''''''''''''0''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0</a:t>
            </a:fld>
            <a:endParaRPr kumimoji="1" lang="zh-CN" altLang="en-US" sz="1400" dirty="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16755EE7-D719-34B4-9638-192344E53979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17059275" y="151606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44D33A-FE41-4980-A244-EC90E1BE291D}" type="datetime'''''''1''''''''''''''''''''''''''''''''''''5''''86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86</a:t>
            </a:fld>
            <a:endParaRPr kumimoji="1" lang="zh-CN" altLang="en-US" sz="1400" dirty="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0FD54186-574D-86AC-1F8A-D2E95C55BE6B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6195675" y="25733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8B1A9-F2BE-4832-9AD2-3C00A71818FE}" type="datetime'''''''''''''''''''''''''''7''''4''.''''''''''5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5%</a:t>
            </a:fld>
            <a:endParaRPr lang="zh-CN" altLang="en-US" sz="1000" dirty="0"/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5319784B-715F-4994-8B83-7C4B4DFBAE33}"/>
              </a:ext>
            </a:extLst>
          </p:cNvPr>
          <p:cNvSpPr txBox="1"/>
          <p:nvPr/>
        </p:nvSpPr>
        <p:spPr>
          <a:xfrm>
            <a:off x="10451992" y="2879727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ACBFE059-DECC-ED1F-3BEE-E72FFE063088}"/>
              </a:ext>
            </a:extLst>
          </p:cNvPr>
          <p:cNvGraphicFramePr/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921624338"/>
              </p:ext>
            </p:extLst>
          </p:nvPr>
        </p:nvGraphicFramePr>
        <p:xfrm>
          <a:off x="514350" y="6610350"/>
          <a:ext cx="8207375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21" name="直线连接符 520">
            <a:extLst>
              <a:ext uri="{FF2B5EF4-FFF2-40B4-BE49-F238E27FC236}">
                <a16:creationId xmlns:a16="http://schemas.microsoft.com/office/drawing/2014/main" id="{62BD7BFE-E7FE-5DCF-57AC-CCC3A3B90D0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119688" y="9344025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直线连接符 586">
            <a:extLst>
              <a:ext uri="{FF2B5EF4-FFF2-40B4-BE49-F238E27FC236}">
                <a16:creationId xmlns:a16="http://schemas.microsoft.com/office/drawing/2014/main" id="{98530184-8C74-9FC1-45BC-3463076C1BB4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auto">
          <a:xfrm flipH="1">
            <a:off x="8150225" y="905510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直线连接符 582">
            <a:extLst>
              <a:ext uri="{FF2B5EF4-FFF2-40B4-BE49-F238E27FC236}">
                <a16:creationId xmlns:a16="http://schemas.microsoft.com/office/drawing/2014/main" id="{A1A974D8-53FE-1655-5AB8-E046A31BB35E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>
            <a:off x="8135938" y="89916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直线连接符 515">
            <a:extLst>
              <a:ext uri="{FF2B5EF4-FFF2-40B4-BE49-F238E27FC236}">
                <a16:creationId xmlns:a16="http://schemas.microsoft.com/office/drawing/2014/main" id="{08328C81-4EE3-58BB-687C-0A81DB076867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1046163" y="9018588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直线连接符 525">
            <a:extLst>
              <a:ext uri="{FF2B5EF4-FFF2-40B4-BE49-F238E27FC236}">
                <a16:creationId xmlns:a16="http://schemas.microsoft.com/office/drawing/2014/main" id="{8AD0CAA7-DB6C-335E-BE01-09903BBED07E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145338" y="8909050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直线连接符 523">
            <a:extLst>
              <a:ext uri="{FF2B5EF4-FFF2-40B4-BE49-F238E27FC236}">
                <a16:creationId xmlns:a16="http://schemas.microsoft.com/office/drawing/2014/main" id="{C18374E6-6386-199E-FBB8-A446B8B490B9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6073775" y="8926513"/>
            <a:ext cx="38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直线连接符 521">
            <a:extLst>
              <a:ext uri="{FF2B5EF4-FFF2-40B4-BE49-F238E27FC236}">
                <a16:creationId xmlns:a16="http://schemas.microsoft.com/office/drawing/2014/main" id="{ED2B8A1B-BD8C-DE11-8947-8FBC46C40CC8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5119688" y="93075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直线连接符 571">
            <a:extLst>
              <a:ext uri="{FF2B5EF4-FFF2-40B4-BE49-F238E27FC236}">
                <a16:creationId xmlns:a16="http://schemas.microsoft.com/office/drawing/2014/main" id="{E949886B-C657-EC39-826C-47502955CCC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 flipH="1">
            <a:off x="4129088" y="896461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直线连接符 519">
            <a:extLst>
              <a:ext uri="{FF2B5EF4-FFF2-40B4-BE49-F238E27FC236}">
                <a16:creationId xmlns:a16="http://schemas.microsoft.com/office/drawing/2014/main" id="{38CAD3DD-57B7-8A4F-1F40-01E0B8C365E6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3124200" y="89074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4562DA38-BC29-8BC1-B845-9F2AD1A70E2E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2932113" y="84518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264D56-0D14-4CA7-9314-6073C5A4DF7E}" type="datetime'''7''''''''''''''''''''6''''''''''''.6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6%</a:t>
            </a:fld>
            <a:endParaRPr lang="zh-CN" altLang="en-US" sz="10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E2CDECFE-E357-9009-5A2B-E22DD1A19875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932113" y="9051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BCBEC-C320-4AD9-92F7-60BBD99E1480}" type="datetime'''''''''3''''''''''7''''.''''''''4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4%</a:t>
            </a:fld>
            <a:endParaRPr lang="zh-CN" altLang="en-US" sz="1000" b="1" dirty="0"/>
          </a:p>
        </p:txBody>
      </p:sp>
      <p:sp useBgFill="1">
        <p:nvSpPr>
          <p:cNvPr id="540" name="Text Placeholder 2">
            <a:extLst>
              <a:ext uri="{FF2B5EF4-FFF2-40B4-BE49-F238E27FC236}">
                <a16:creationId xmlns:a16="http://schemas.microsoft.com/office/drawing/2014/main" id="{81C56B49-CA56-D2A7-9DFD-490680D507BD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3163888" y="88392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0FBF73-082B-4794-A2C7-A885C252ADD1}" type="datetime'4''''''''''''''''''''''7''''''''''''''.''''''3''''''''''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38" name="Text Placeholder 2">
            <a:extLst>
              <a:ext uri="{FF2B5EF4-FFF2-40B4-BE49-F238E27FC236}">
                <a16:creationId xmlns:a16="http://schemas.microsoft.com/office/drawing/2014/main" id="{DF562204-A251-5AB1-8726-2F294C0D4552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2900363" y="7051675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7616-9DB3-4B90-954C-A07D05559D88}" type="datetime'23''''''''0''''''''''''.''''''''''''''''''''''''0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.0%</a:t>
            </a:fld>
            <a:endParaRPr lang="zh-CN" altLang="en-US" sz="1000" b="1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8A4B5922-56C3-2114-2CFC-6F8098515122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2900363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C60709-67AA-4CCC-B43B-D56AAB66184D}" type="datetime'''F''Y''''''''''''2''''''''''''6''''''''''''''Q''4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 useBgFill="1">
        <p:nvSpPr>
          <p:cNvPr id="563" name="Text Placeholder 2">
            <a:extLst>
              <a:ext uri="{FF2B5EF4-FFF2-40B4-BE49-F238E27FC236}">
                <a16:creationId xmlns:a16="http://schemas.microsoft.com/office/drawing/2014/main" id="{DEF42E98-7039-4C9D-0681-42A7B8DDB55D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3905250" y="7607300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0E655-A6E4-4476-B55E-6D81B70111C7}" type="datetime'''1''''''''''6''9''''''''''''''.''''''''''''''''''0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0" name="Text Placeholder 2">
            <a:extLst>
              <a:ext uri="{FF2B5EF4-FFF2-40B4-BE49-F238E27FC236}">
                <a16:creationId xmlns:a16="http://schemas.microsoft.com/office/drawing/2014/main" id="{B060C51B-F346-3259-6431-9AFD35AEDBEC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3937000" y="86693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4A5A1-2D33-4B86-97EF-2793AE54992D}" type="datetime'''''''''''''5''''''''2''''''''.''''''''''6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74EDF818-5875-5F48-6298-FC101B35DDE8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3937000" y="90598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0B7E5-588B-4E13-A330-BD9A8FE57AC1}" type="datetime'''''36''''''''''.5''''''%''''''''''''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5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570" name="Text Placeholder 2">
            <a:extLst>
              <a:ext uri="{FF2B5EF4-FFF2-40B4-BE49-F238E27FC236}">
                <a16:creationId xmlns:a16="http://schemas.microsoft.com/office/drawing/2014/main" id="{91EBE5E2-E662-13D8-8F6E-84D1A54BF36A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4168775" y="88963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C3BA0-6F23-44B2-845C-28CCD56F775A}" type="datetime'''''''40''.''''''''''''9''''''''''''''''''''''''''''''''%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4AEA944F-EEBA-2336-F73D-542CB4802B3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1895475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5608C-E0BF-4939-A76E-04CF07EE6576}" type="datetime'''FY''''''26''''''''Q3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8EC7F667-6B48-FDF7-75BD-E2982BF907E3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390525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875FC6-5896-4EB3-B83C-97D139B4F4C6}" type="datetime'''''''F''''''''Y''''''27''''''''''''''''''''''Q1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 useBgFill="1">
        <p:nvSpPr>
          <p:cNvPr id="541" name="Text Placeholder 2">
            <a:extLst>
              <a:ext uri="{FF2B5EF4-FFF2-40B4-BE49-F238E27FC236}">
                <a16:creationId xmlns:a16="http://schemas.microsoft.com/office/drawing/2014/main" id="{A7CF5C18-812F-7362-255A-1F9EF8E832DC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4910138" y="82375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D76142-4A08-47B4-B6E0-0CFFD3CE9B8B}" type="datetime'''''''''''''''10''''''''''''0''''.''''''''''''0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.0%</a:t>
            </a:fld>
            <a:endParaRPr lang="zh-CN" altLang="en-US" sz="1000" b="1" dirty="0"/>
          </a:p>
        </p:txBody>
      </p:sp>
      <p:sp useBgFill="1">
        <p:nvSpPr>
          <p:cNvPr id="510" name="Text Placeholder 2">
            <a:extLst>
              <a:ext uri="{FF2B5EF4-FFF2-40B4-BE49-F238E27FC236}">
                <a16:creationId xmlns:a16="http://schemas.microsoft.com/office/drawing/2014/main" id="{1C1BEF97-B386-A9CD-8D26-E669B0AB650F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4956175" y="9207500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20E3CE-2E11-40FF-A1EA-687FFF657883}" type="datetime'''''''''''''''''''''-''6''''''''.''3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.3%</a:t>
            </a:fld>
            <a:endParaRPr lang="zh-CN" altLang="en-US" sz="1000" b="1" dirty="0"/>
          </a:p>
        </p:txBody>
      </p:sp>
      <p:sp>
        <p:nvSpPr>
          <p:cNvPr id="533" name="Text Placeholder 2">
            <a:extLst>
              <a:ext uri="{FF2B5EF4-FFF2-40B4-BE49-F238E27FC236}">
                <a16:creationId xmlns:a16="http://schemas.microsoft.com/office/drawing/2014/main" id="{7DDA1C0E-8412-0E7C-B090-04DCD141B5D5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920750" y="8712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97C23-2B1B-47A0-8A46-798A674BCB33}" type="datetime'''''''''''''''''''4''''''7''.''''''''9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9%</a:t>
            </a:fld>
            <a:endParaRPr lang="zh-CN" altLang="en-US" sz="1000" b="1" dirty="0"/>
          </a:p>
        </p:txBody>
      </p:sp>
      <p:sp useBgFill="1">
        <p:nvSpPr>
          <p:cNvPr id="511" name="Text Placeholder 2">
            <a:extLst>
              <a:ext uri="{FF2B5EF4-FFF2-40B4-BE49-F238E27FC236}">
                <a16:creationId xmlns:a16="http://schemas.microsoft.com/office/drawing/2014/main" id="{7D3CA6F6-04E8-B194-D504-61C573E8FDA4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gray">
          <a:xfrm>
            <a:off x="4956175" y="9170988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33371-0D2B-4A2E-9D2A-BF9917E7BCAE}" type="datetime'''''''''''-''''''''''2''''''''.''4''''''''''''''%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136B31ED-E900-0BAB-0163-E3506DBAB4F1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1927225" y="8723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FE339-2E1B-4C63-BE47-70D3B35A5174}" type="datetime'''''''''''''46''''''''''''''''''''.''''''''''7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b="1" dirty="0"/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E1F1290D-7A21-8594-3F21-B59C64AD3F11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5018088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391045-09E1-4CF3-8738-B3D4BF9D11B0}" type="datetime'''''''''''''''''''2''''''''''''''''''''''''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03201CA9-87E4-BBC7-216C-705EAFF48145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5916613" y="7416800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0A3A7-578E-41AE-9453-61ACAE8A8B30}" type="datetime'''''''''1''''9''0''''''''''.''''0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0.0%</a:t>
            </a:fld>
            <a:endParaRPr lang="zh-CN" altLang="en-US" sz="1000" b="1" dirty="0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02C16B84-245A-7A75-8AF5-4E92B7678A80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gray">
          <a:xfrm>
            <a:off x="5948363" y="8539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ACC137-21C2-4A74-A38D-E7A0B5FBE668}" type="datetime'6''''''''''''''''''''''6''.9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.9%</a:t>
            </a:fld>
            <a:endParaRPr lang="zh-CN" altLang="en-US" sz="1000" b="1" dirty="0"/>
          </a:p>
        </p:txBody>
      </p:sp>
      <p:sp>
        <p:nvSpPr>
          <p:cNvPr id="545" name="Text Placeholder 2">
            <a:extLst>
              <a:ext uri="{FF2B5EF4-FFF2-40B4-BE49-F238E27FC236}">
                <a16:creationId xmlns:a16="http://schemas.microsoft.com/office/drawing/2014/main" id="{DFAE96AE-B947-7D8C-ACCD-9F316EB2F71A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948363" y="90471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D13BF9-A0C1-4A41-A8D4-8F7623A7C19E}" type="datetime'''3''''''''7''''''.''''''''''''''''''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b="1" dirty="0"/>
          </a:p>
        </p:txBody>
      </p:sp>
      <p:sp useBgFill="1">
        <p:nvSpPr>
          <p:cNvPr id="512" name="Text Placeholder 2">
            <a:extLst>
              <a:ext uri="{FF2B5EF4-FFF2-40B4-BE49-F238E27FC236}">
                <a16:creationId xmlns:a16="http://schemas.microsoft.com/office/drawing/2014/main" id="{18E422D7-26D5-608E-5B25-6C8D315E32AC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718175" y="88582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12C445-6C28-4F94-A9E6-AE5BD1A7DBA5}" type="datetime'4''5''.''''''2''''''''%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4D0A7763-A5C5-235B-562F-0E9499E9E620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1895475" y="6503988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5B970-2CEA-4765-991D-107CCD687CA2}" type="datetime'2''9''0''''''''''.''''0''''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0.0%</a:t>
            </a:fld>
            <a:endParaRPr lang="zh-CN" altLang="en-US" sz="1000" b="1" dirty="0"/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70727012-64F9-24C7-7E0C-D8E1E73A31C3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024563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C20A8F-7285-451D-B24A-9E9CE088CEC7}" type="datetime'''''''''''''''''''''''''''''''''''''''''''3月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02EE162E-0353-14FA-4E26-542C8660A09F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gray">
          <a:xfrm>
            <a:off x="6921500" y="732472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2A601-E953-473A-BB79-0A9DAB9E212D}" type="datetime'2''''''00''.''''''0''''''''''%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.0%</a:t>
            </a:fld>
            <a:endParaRPr lang="zh-CN" altLang="en-US" sz="1000" b="1" dirty="0"/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42E211DB-3AE4-73B5-C262-787C3CE39EAF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85359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10FBD-CDCF-40DB-822F-76D31D08AD66}" type="datetime'''''''''''''''''''67''''''.''''''2''''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548" name="Text Placeholder 2">
            <a:extLst>
              <a:ext uri="{FF2B5EF4-FFF2-40B4-BE49-F238E27FC236}">
                <a16:creationId xmlns:a16="http://schemas.microsoft.com/office/drawing/2014/main" id="{05F7F32A-6047-2966-D6F0-B26B7BD839A0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90344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0073FF-2933-4A76-B985-BB4DCABCA7C6}" type="datetime'''''''3''''''''''''''''''''9''.''''''''''''3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3%</a:t>
            </a:fld>
            <a:endParaRPr lang="zh-CN" altLang="en-US" sz="1000" b="1" dirty="0"/>
          </a:p>
        </p:txBody>
      </p:sp>
      <p:sp useBgFill="1">
        <p:nvSpPr>
          <p:cNvPr id="513" name="Text Placeholder 2">
            <a:extLst>
              <a:ext uri="{FF2B5EF4-FFF2-40B4-BE49-F238E27FC236}">
                <a16:creationId xmlns:a16="http://schemas.microsoft.com/office/drawing/2014/main" id="{CEF23066-15B3-065E-1D3F-F8E2AE5074AA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7185025" y="88407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69FC11-7FE3-4BEB-A9F1-49E058A0A93F}" type="datetime'''''4''''''''7''''.''''''''''''''''''''''''''1%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7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D6D5935-04C3-F67F-FA1A-FE2FEA080DC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889000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CD8E9-2A94-43A0-8ECE-277CBF141D79}" type="datetime'''F''''''''''''Y''''''''''''''2''6''Q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B3775FBB-911D-0535-AB3A-36C621C7345E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439275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35E39-39EB-4FD3-B717-C6C18DE7793B}" type="datetime'''''4''''''月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 useBgFill="1">
        <p:nvSpPr>
          <p:cNvPr id="574" name="Text Placeholder 2">
            <a:extLst>
              <a:ext uri="{FF2B5EF4-FFF2-40B4-BE49-F238E27FC236}">
                <a16:creationId xmlns:a16="http://schemas.microsoft.com/office/drawing/2014/main" id="{A43EF41A-FFBB-9CD7-F321-9E8EFCF4FDC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26388" y="7945438"/>
            <a:ext cx="420688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DD496-8E0E-4CB2-8DB1-CC07E18A7457}" type="datetime'1''''''''3''2.''''''''''''0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77" name="Text Placeholder 2">
            <a:extLst>
              <a:ext uri="{FF2B5EF4-FFF2-40B4-BE49-F238E27FC236}">
                <a16:creationId xmlns:a16="http://schemas.microsoft.com/office/drawing/2014/main" id="{3C77C4BD-5FCF-B229-43D0-2D0025A2CAA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91440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E34B74-BEAE-4839-963C-B558707CCC7A}" type="datetime'''''''''''''''''''''''''2''7''.''''2''''''''''%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0" name="Text Placeholder 2">
            <a:extLst>
              <a:ext uri="{FF2B5EF4-FFF2-40B4-BE49-F238E27FC236}">
                <a16:creationId xmlns:a16="http://schemas.microsoft.com/office/drawing/2014/main" id="{09303170-CA88-754A-9C27-8565A450E464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88550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BB28A-A52A-42A1-A620-1E35CF18173A}" type="datetime'''''''''''''''3''''''''''''2''''''''''''''''''''.''2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.2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9E8578DC-BE46-8C4B-4620-C646574B6153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690563" y="8950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7D6C4-F870-4149-97D2-EB0C2C0FF28A}" type="datetime'''''''''''''''''3''''''5''''.''''0''''''''%''''''''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347CF1E1-96A6-0027-1900-B342D8217CE7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8189913" y="89868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6FEAA4-665E-4A44-88E9-D8C63186FBE7}" type="datetime'''''''''''''''''''''''''3''''''''1''''''''''.1''''%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D8525ED6-E3C2-42DE-2AEC-33223FF93AE1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gray">
          <a:xfrm>
            <a:off x="920750" y="91122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D4A4C9-52E1-4F4F-B33E-C7EC903E0EFF}" type="datetime'''''3''''''''''''''''0''''''''''.7''''''''''''''''%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7%</a:t>
            </a:fld>
            <a:endParaRPr lang="zh-CN" altLang="en-US" sz="1000" b="1" dirty="0"/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F12351BF-E950-153C-99ED-A8BC523591FC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926388" y="9439275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08DFA-9051-4A5D-BC0A-323E5938615A}" type="datetime'''''5''''''''''''月''mt''''''''''''''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506" name="Text Placeholder 2">
            <a:extLst>
              <a:ext uri="{FF2B5EF4-FFF2-40B4-BE49-F238E27FC236}">
                <a16:creationId xmlns:a16="http://schemas.microsoft.com/office/drawing/2014/main" id="{058A3D70-246B-7DA6-BAF2-F3A62459F87C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gray">
          <a:xfrm>
            <a:off x="920750" y="84328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86048-CD7A-4DAF-9080-65444C0FB79D}" type="datetime'''''''''78''.''''''''''''''6''''''''''''''''''''''%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6%</a:t>
            </a:fld>
            <a:endParaRPr lang="zh-CN" altLang="en-US" sz="1000" b="1" dirty="0"/>
          </a:p>
        </p:txBody>
      </p:sp>
      <p:sp>
        <p:nvSpPr>
          <p:cNvPr id="455" name="矩形 454">
            <a:extLst>
              <a:ext uri="{FF2B5EF4-FFF2-40B4-BE49-F238E27FC236}">
                <a16:creationId xmlns:a16="http://schemas.microsoft.com/office/drawing/2014/main" id="{E06BC842-70A9-931A-F468-8616FD583735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7345363" y="56403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6" name="矩形 455">
            <a:extLst>
              <a:ext uri="{FF2B5EF4-FFF2-40B4-BE49-F238E27FC236}">
                <a16:creationId xmlns:a16="http://schemas.microsoft.com/office/drawing/2014/main" id="{EE84531E-F718-7B66-4C3C-0E09461C172F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8104188" y="56403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3B506B67-29FC-4EDA-3CE5-38A84CAD81D5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8863013" y="56403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CA8B2A8E-EA65-CFF9-4C40-2C9DD02EAAE3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64698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53EE9C-7BAA-45EA-87E5-33FC641579F1}" type="datetime'''''''''''电''''''''''''''''''''''''销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/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E12D2937-CDEA-3451-A4EE-0A52F4F7DB91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8405813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E69D55-472F-435F-90C6-E9075762FF68}" type="datetime'''渠''''''''''''''''''''''''道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/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0838AEC9-AF7E-D9CC-2B42-93D58EE8CA89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9164638" y="56515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A442-6A71-4D5E-83F7-175580FC68AC}" type="datetime'''''''''''''''直''''''''''''''''''''''营''''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cxnSp>
        <p:nvCxnSpPr>
          <p:cNvPr id="504" name="直线连接符 503">
            <a:extLst>
              <a:ext uri="{FF2B5EF4-FFF2-40B4-BE49-F238E27FC236}">
                <a16:creationId xmlns:a16="http://schemas.microsoft.com/office/drawing/2014/main" id="{A9719437-742F-1C1F-E7D6-2E6820D5E869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2962275" y="12376150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1" name="直线连接符 500">
            <a:extLst>
              <a:ext uri="{FF2B5EF4-FFF2-40B4-BE49-F238E27FC236}">
                <a16:creationId xmlns:a16="http://schemas.microsoft.com/office/drawing/2014/main" id="{27D81AA3-A7EC-563F-062B-BB9233D5AC62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6572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直线连接符 502">
            <a:extLst>
              <a:ext uri="{FF2B5EF4-FFF2-40B4-BE49-F238E27FC236}">
                <a16:creationId xmlns:a16="http://schemas.microsoft.com/office/drawing/2014/main" id="{BD1BA839-6EAC-BB49-5D65-F0F2B6804B02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219392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直线连接符 501">
            <a:extLst>
              <a:ext uri="{FF2B5EF4-FFF2-40B4-BE49-F238E27FC236}">
                <a16:creationId xmlns:a16="http://schemas.microsoft.com/office/drawing/2014/main" id="{EBCC1E5E-C6FA-D38E-BB8E-E55E7DEA4A21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425575" y="12376150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960BEAC2-27A6-48D4-41E1-D06CF75A79AB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0604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829E80-30C8-4500-BDE3-048A7592280A}" type="datetime'''''''''''''''''''''''''''''''''''''电''销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AE6EE5C2-F908-AA24-D2C1-C7FA1C1DE56D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2880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3D5F91-6CC1-4888-92EA-CD3C4DF06585}" type="datetime'''渠''道''''''''''''''''''''''''''''''''''''''''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CEECC1B3-B1DB-3594-6070-1FC36429E2A4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3365500" y="12317413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DA9CC-4126-4355-859E-B87CA85054A6}" type="datetime'''''''''''''''''''''''''''a''''''''''l''''''''''''''l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F8EF3E48-9529-B304-16CA-C41D6786FA01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2597150" y="12317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8EF009-1992-4F48-B660-B0C185DFCD18}" type="datetime'''''''''''''''''''''''''''''''''''''直营''''''''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598" name="文本框 597">
            <a:extLst>
              <a:ext uri="{FF2B5EF4-FFF2-40B4-BE49-F238E27FC236}">
                <a16:creationId xmlns:a16="http://schemas.microsoft.com/office/drawing/2014/main" id="{6AAF11BD-7878-488B-3C15-712F2DEF44B4}"/>
              </a:ext>
            </a:extLst>
          </p:cNvPr>
          <p:cNvSpPr txBox="1"/>
          <p:nvPr/>
        </p:nvSpPr>
        <p:spPr>
          <a:xfrm>
            <a:off x="10313700" y="6160573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医疗</a:t>
            </a:r>
          </a:p>
        </p:txBody>
      </p:sp>
    </p:spTree>
    <p:extLst>
      <p:ext uri="{BB962C8B-B14F-4D97-AF65-F5344CB8AC3E}">
        <p14:creationId xmlns:p14="http://schemas.microsoft.com/office/powerpoint/2010/main" val="1948535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think-cell data - do not delete" hidden="1">
            <a:extLst>
              <a:ext uri="{FF2B5EF4-FFF2-40B4-BE49-F238E27FC236}">
                <a16:creationId xmlns:a16="http://schemas.microsoft.com/office/drawing/2014/main" id="{1B9F1333-15AC-8506-DB21-754287F8DDA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77652"/>
              </p:ext>
            </p:extLst>
          </p:nvPr>
        </p:nvGraphicFramePr>
        <p:xfrm>
          <a:off x="6301584" y="2881313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3" imgW="7772400" imgH="10058400" progId="TCLayout.ActiveDocument.1">
                  <p:embed/>
                </p:oleObj>
              </mc:Choice>
              <mc:Fallback>
                <p:oleObj name="think-cell 幻灯片" r:id="rId1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6301584" y="2881313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14CC6F9B-83E4-A4BC-432A-9A94D042F9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44173"/>
              </p:ext>
            </p:extLst>
          </p:nvPr>
        </p:nvGraphicFramePr>
        <p:xfrm>
          <a:off x="685800" y="1217613"/>
          <a:ext cx="2362200" cy="214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8E7E335-C754-3262-D0BC-8BB2BCCAAB6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12800" y="1830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BB2392-11F5-48A8-A8F8-266B1686B739}" type="datetime'''''''''''''''''4''''''''''''''''2''''''''.''6%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6%</a:t>
            </a:fld>
            <a:endParaRPr lang="zh-CN" altLang="en-US" sz="10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AE6DFA5-4DBE-3CF4-01E7-A02F13A2B7B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12800" y="2719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47417-ECAF-4342-886C-01DE8C15E68A}" type="datetime'''''''''''''''''''''''5''''2.''''''''''''''''3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3%</a:t>
            </a:fld>
            <a:endParaRPr lang="zh-CN" altLang="en-US" sz="1000" dirty="0"/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D1FC4755-D11A-2074-898E-190095EF7E2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9113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DE3C6-BD71-4F8A-A6FE-F2E498B5ABA5}" type="datetime'''''F''''''''''''Y''''''''2''''''''''''''6''''Q''''''2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200" b="1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C540179-BB85-5A82-CEC5-DBDC9385AB8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347788" y="16970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772AE-4997-4C0D-B757-BF97056C2FF2}" type="datetime'''''''''''''''6''''''.''''''''''''3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2C8DF5F-2455-78B7-2FB2-8AA5FCE2A19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323975" y="2020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8AD345-11E3-4943-854C-1C9239B3D046}" type="datetime'''4''''''''3''''''''''.''''''''''''''6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.6%</a:t>
            </a:fld>
            <a:endParaRPr lang="zh-CN" alt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2D2C06-A121-264A-2263-222C97179DD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323975" y="27955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46A5F7-050A-4F70-817C-5084AC3B3B91}" type="datetime'''''5''0''''''''''.''''''''''''''''''''''''''''''1''''''''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1%</a:t>
            </a:fld>
            <a:endParaRPr lang="zh-CN" altLang="en-US" sz="1000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EA950728-BE68-A51E-F526-BFA4FE50895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50950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A71CB-2DAE-43D1-B4DE-7048FC3F0736}" type="datetime'F''''Y''2''''''6''''''''''''''''''''''''Q3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200" b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ED2E52-04A1-F64E-4A80-CB3F2871FE4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081213" y="1403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039A47-0B26-40EA-8CAA-1B988ECC6C17}" type="datetime'''''''''''''5''''''''''''''.''3''%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B296B84-5983-D486-A599-F3AB5FE9C37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057400" y="17907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036AF1-EA81-410C-8C5A-9C43565997B5}" type="datetime'''''''''''''4''''''''6.''''0''''%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01255C0-9100-7873-3BEB-83444DB22B5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798513" y="150653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6D2408-4543-4B6D-9D2F-F288E4DA480F}" type="datetime'''''''''''''''''''''''''5''''.''''2''''''''''''''%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2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43C1E269-3E70-6D43-1F44-537814AAE2B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984375" y="3328988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3D320-611B-4885-913E-77F128027830}" type="datetime'''''F''''''Y''2''6Q''''''''''''''''''''''''''''''4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200" b="1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0FFC7F2-C157-924D-A45B-0E61F05582A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633663" y="213836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7327B-50CF-4E5A-B6A4-3637127C2489}" type="datetime'''''6''''''''''''''''.''''3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B93AB52-D87F-7C08-CEF4-1AFEAA5BBEC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568575" y="2393950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7B039-FCF4-4EC7-B3FB-344568830067}" type="datetime'''''''4''0''''.''''0%''''''''''''''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%</a:t>
            </a:fld>
            <a:endParaRPr lang="zh-CN" alt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F063B1-7960-3E03-BBAB-31057EE73AA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568575" y="29130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49EF3-DB33-4DA7-9E1D-585C1F0B08F1}" type="datetime'''''5''3.''''''''''''''''''''''''''''''''''''''''''7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7%</a:t>
            </a:fld>
            <a:endParaRPr lang="zh-CN" altLang="en-US" sz="1000" dirty="0"/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DFAF27C9-C494-17E2-7BF9-718304296AF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649538" y="3328988"/>
            <a:ext cx="633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CD684-6FE3-4DC5-B1D9-5FE8028DDCAF}" type="datetime'''F''''''''Y''''''''''2''''''''''7''Q''''''''''''''1''''td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td</a:t>
            </a:fld>
            <a:endParaRPr lang="zh-CN" altLang="en-US" sz="12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5EF3740-EAA5-403A-019C-A0FD1395633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00075" y="1141413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894706-2AD6-40B2-9103-891252FDC10B}" type="datetime'7''''''''''''0''''''''''''''''''''''''''''''''''4''''''5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045</a:t>
            </a:fld>
            <a:endParaRPr kumimoji="1" lang="zh-CN" altLang="en-US" sz="1400" dirty="0"/>
          </a:p>
        </p:txBody>
      </p:sp>
      <p:sp useBgFill="1">
        <p:nvSpPr>
          <p:cNvPr id="22" name="Text Placeholder 2">
            <a:extLst>
              <a:ext uri="{FF2B5EF4-FFF2-40B4-BE49-F238E27FC236}">
                <a16:creationId xmlns:a16="http://schemas.microsoft.com/office/drawing/2014/main" id="{D77BAB71-D5BF-09F9-8012-FA30E6864FF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293813" y="1409700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C9FCF1-294A-45F1-9425-0E3D22A3DD19}" type="datetime'''6''''''''''''''''''''''''''''2''1''''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12</a:t>
            </a:fld>
            <a:endParaRPr kumimoji="1" lang="zh-CN" alt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495FF4E-4CD6-04D0-7C60-D63167274E2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984375" y="10255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C61B3-FD0E-4E50-BA03-B714F0CF5E80}" type="datetime'7''''4''''''3''''''''''''''''''''''''''''3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433</a:t>
            </a:fld>
            <a:endParaRPr kumimoji="1" lang="zh-CN" altLang="en-US" sz="1400" dirty="0"/>
          </a:p>
        </p:txBody>
      </p:sp>
      <p:sp useBgFill="1">
        <p:nvSpPr>
          <p:cNvPr id="26" name="Text Placeholder 2">
            <a:extLst>
              <a:ext uri="{FF2B5EF4-FFF2-40B4-BE49-F238E27FC236}">
                <a16:creationId xmlns:a16="http://schemas.microsoft.com/office/drawing/2014/main" id="{5A0C654B-28EB-C313-CC42-D25F9E4609EE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2759075" y="1957388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8B258-A12C-4C97-93CD-686D08C51B10}" type="datetime'4''''''''''''''''''''''''1''''''''5''7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57</a:t>
            </a:fld>
            <a:endParaRPr kumimoji="1" lang="zh-CN" altLang="en-US" sz="1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BFED368-3CA7-EE37-EE52-EBCD88AE53E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057400" y="2727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DC79D-C9A1-4A1A-9845-90770BE0F9F2}" type="datetime'''4''''''''''''''''8''''''.''''''''''''7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52BC54F-4464-E191-952C-EE0FA0C2877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180263" y="56642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E7F66FD-2D07-1223-B582-6969BE41CF0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39088" y="56642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14550A8-8F39-2C86-2328-24AB673DAF7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697913" y="56642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1AF4BBF-32C5-8DC0-18AC-4C6412FF1A7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48188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480D39-C58B-4D49-8F39-A236747D4CB4}" type="datetime'''''''电''''''''''''''''''销''''''''''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B43443-812A-153B-3914-846A5C62C4E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240713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124AA8-839F-4508-A0EF-137CE98C4AE8}" type="datetime'''''''''''''''''''''''''''''''渠''''''''''''道''''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97B1D2E-ADE3-5E71-8CE6-995C7A164C0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999538" y="5675313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E64D62-E21E-43D9-829E-A32FE588E17F}" type="datetime'''''''''''''直''''''''''''''''''''''''''''''''''''营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kumimoji="1" lang="zh-CN" altLang="en-US" sz="1400" dirty="0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27522B3C-BF94-5BBB-A1EE-61AC5403648F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21910317"/>
              </p:ext>
            </p:extLst>
          </p:nvPr>
        </p:nvGraphicFramePr>
        <p:xfrm>
          <a:off x="7156450" y="1106488"/>
          <a:ext cx="287020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A4D40D2-0A2F-7BC9-5D37-89925D3FCFE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7283450" y="26527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EB3D7C-9C07-4AC1-9B17-C27ACA108AE1}" type="datetime'''''4''''4''''''''''''''''''.''2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2%</a:t>
            </a:fld>
            <a:endParaRPr lang="zh-CN" altLang="en-US" sz="10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98BAD2F-91C5-A9BD-29EB-DE7DDFB0B642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283450" y="29972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1E6C1-422E-4DB0-828B-521F0C4AFB86}" type="datetime'''4''''''''''''''''''''''9''''.8''''''''''''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8%</a:t>
            </a:fld>
            <a:endParaRPr lang="zh-CN" altLang="en-US" sz="1000" dirty="0"/>
          </a:p>
        </p:txBody>
      </p: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0DDCCE1E-CBC5-3808-73FA-A1306C60D91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1183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4BE7DE-EB76-491C-B538-07B5C1F16838}" type="datetime'''''''''''''''''''''''''''2''''''''''''''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2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4D691D4-AE4E-78EC-686A-3719461F5E1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023225" y="1360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FF0B6D-02D4-45E9-BFC1-848237FAEAF9}" type="datetime'''''5''.''''''''''''''''3''''''''''''%''''''''''''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3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F2C2600-D7C1-C54E-E80E-7013ED686B1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7981950" y="1862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BF9512-E36B-4A39-A2A1-C108792C8F70}" type="datetime'''''''''''46''.''''''''''0''%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0%</a:t>
            </a:fld>
            <a:endParaRPr lang="zh-CN" altLang="en-US" sz="1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7AF60C1-806E-322E-7456-DA1D5EFE756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964488" y="2676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F0370-FA8B-4508-9191-3D2C27CA06C5}" type="datetime'48''''''''''''''''''.''''''7''''''''''''''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7%</a:t>
            </a:fld>
            <a:endParaRPr lang="zh-CN" altLang="en-US" sz="1000" dirty="0"/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6A6009A5-005C-C6B4-D43E-6F0BCCF71F9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0200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B7E-7AB9-43DE-BD38-9CE67FD22CB6}" type="datetime'''''''''''''''''''''''''''''''''''''''''''3月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2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025CF2D-A07A-463B-62F6-04324A4AF7B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8878888" y="17843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AB92FE-077E-4877-8764-ED6CF769B5D5}" type="datetime'''6''.''''''''''0''''''''''''''''%''''''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74070C5-8C00-7F16-268D-35A039C4F6F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8867775" y="2120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6F620-83EC-47C6-8E6B-6AFDC974AD67}" type="datetime'''''3''''''''''9''.''''''''''''''''''9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714035B-384F-FDCF-845F-7E978B040276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283450" y="24701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CFBDB7-8B52-4452-B4BD-0C28683CF1A1}" type="datetime'''''''''''''''''''''6''.0''''''''''''''''''''''''''''%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49" name="文本占位符 2">
            <a:extLst>
              <a:ext uri="{FF2B5EF4-FFF2-40B4-BE49-F238E27FC236}">
                <a16:creationId xmlns:a16="http://schemas.microsoft.com/office/drawing/2014/main" id="{5A7DD571-349B-C249-1DF3-007C68A501C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921750" y="3297238"/>
            <a:ext cx="242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1F328-6A32-4F55-B996-001311C24D69}" type="datetime'''''''''''''''''''''''''''''''''''''''''''''''''''''4''''月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200" b="1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589753E-ADDC-281F-D509-E4C8A19F6745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612313" y="24495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AF4AB-A81A-4C99-A08C-83FCFEDF219B}" type="datetime'''6''''''''.''''''''''''''''''''8''''''''''''%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8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4EBFF26-5FB3-B1C0-AAC3-580BBD766C3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547225" y="2627313"/>
            <a:ext cx="352425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8397A-8B9C-4865-8637-E0B4CCCF105A}" type="datetime'''''''4''0''''''''''''''''''''''''''''''''''''.''''3%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3%</a:t>
            </a:fld>
            <a:endParaRPr lang="zh-CN" altLang="en-US" sz="10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F7D5D3A-243C-D2CD-06BC-447D6414938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9547225" y="2979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D3A50-3280-433A-A92B-61D9234000FF}" type="datetime'''5''''''''''''''2''''''''''''''''''''''''''''''.''9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9%</a:t>
            </a:fld>
            <a:endParaRPr lang="zh-CN" altLang="en-US" sz="1000" dirty="0"/>
          </a:p>
        </p:txBody>
      </p:sp>
      <p:sp>
        <p:nvSpPr>
          <p:cNvPr id="53" name="文本占位符 2">
            <a:extLst>
              <a:ext uri="{FF2B5EF4-FFF2-40B4-BE49-F238E27FC236}">
                <a16:creationId xmlns:a16="http://schemas.microsoft.com/office/drawing/2014/main" id="{A3520197-29F1-5863-143D-49C94C34B19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694863" y="3297238"/>
            <a:ext cx="498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4F2B9-D445-401E-96F4-CE0FE2978E95}" type="datetime'''''''''''''''''''''5''''月''''''''m''''''''''''''td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200" b="1" dirty="0"/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AD6A7AD9-4B88-CAD7-23EF-C788F91400C0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032625" y="2301875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8CE156-FF9C-4F5D-A756-5EAB2E820108}" type="datetime'''1''''''''''''3''''''''''''''''''''''0''''''''''''2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2</a:t>
            </a:fld>
            <a:endParaRPr kumimoji="1" lang="zh-CN" altLang="en-US" sz="14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ED79A22-147E-90D3-89ED-972F1DC41F9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7934325" y="974725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8D6BFF-6920-4E04-AB02-EFD187020367}" type="datetime'''''3''''''''''''''''666''''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66</a:t>
            </a:fld>
            <a:endParaRPr kumimoji="1" lang="zh-CN" altLang="en-US" sz="1400" dirty="0">
              <a:ea typeface="等线" panose="02010600030101010101" pitchFamily="2" charset="-122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6ABB03B4-FA2A-73DA-775A-56263283BBA5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8836025" y="14525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B56916-F0DF-45C2-9EB5-BC97489FA3E3}" type="datetime'''''''''''''''''2''''''''''''''''8''''''1''''''''4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14</a:t>
            </a:fld>
            <a:endParaRPr kumimoji="1" lang="zh-CN" altLang="en-US" sz="1400" dirty="0"/>
          </a:p>
        </p:txBody>
      </p:sp>
      <p:sp useBgFill="1">
        <p:nvSpPr>
          <p:cNvPr id="57" name="Text Placeholder 2">
            <a:extLst>
              <a:ext uri="{FF2B5EF4-FFF2-40B4-BE49-F238E27FC236}">
                <a16:creationId xmlns:a16="http://schemas.microsoft.com/office/drawing/2014/main" id="{70B3B445-3D89-FC07-4228-421BE72F4AC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737725" y="2278063"/>
            <a:ext cx="41275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9BEEC-3065-48A0-81E1-122D14D0919B}" type="datetime'''''''''''''''''1''3''''''4''''''''''3''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43</a:t>
            </a:fld>
            <a:endParaRPr kumimoji="1" lang="zh-CN" altLang="en-US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84B8D1-CB67-8BE4-5178-7AA9E55AA6D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8866188" y="2751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D9C8B6-88E3-4540-817D-FD3CEC15CEF0}" type="datetime'''''''''5''''4''''.''''''''''''''''''''1''''''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1%</a:t>
            </a:fld>
            <a:endParaRPr lang="zh-CN" altLang="en-US" sz="1000" dirty="0"/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6A841569-4592-8935-1463-A903D9FCC410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766337295"/>
              </p:ext>
            </p:extLst>
          </p:nvPr>
        </p:nvGraphicFramePr>
        <p:xfrm>
          <a:off x="14563725" y="1143000"/>
          <a:ext cx="2986088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DFC068B-46E7-7102-435E-509A97C8CE8E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4690725" y="16621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56C9C-AC5F-4B78-8564-2C28E14B83B8}" type="datetime'''''3''''7''''''''''''.''''''''''''''''''''''''''''''''''8''%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.8%</a:t>
            </a:fld>
            <a:endParaRPr lang="zh-CN" altLang="en-US" sz="10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1ECD9C5-7EA9-FAE2-5C74-AE2F77675CD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4690725" y="26209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6EF78-22CF-4C42-AF52-3A445D0825DC}" type="datetime'''''''''''''''''5''''''6.''''3''%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.3%</a:t>
            </a:fld>
            <a:endParaRPr lang="zh-CN" altLang="en-US" sz="1000" dirty="0"/>
          </a:p>
        </p:txBody>
      </p:sp>
      <p:sp>
        <p:nvSpPr>
          <p:cNvPr id="62" name="文本占位符 2">
            <a:extLst>
              <a:ext uri="{FF2B5EF4-FFF2-40B4-BE49-F238E27FC236}">
                <a16:creationId xmlns:a16="http://schemas.microsoft.com/office/drawing/2014/main" id="{20128D3E-707E-B0B5-E331-E0F7F73EE1D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45319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4F40CE-A0C3-497D-A1CA-CD74F908A039}" type="datetime'''''''''''''''''''''''''''W''''''''''''''''4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4</a:t>
            </a:fld>
            <a:endParaRPr lang="zh-CN" altLang="en-US" sz="1200" b="1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0866A90-52A4-F5AE-28E9-ED7B6A7B7AD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5446375" y="1428750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8DB4F-8FB5-4D24-BDF4-D7C406BDAB70}" type="datetime'''5.''''''''''''''''''''''''''''''''''9''''''%''''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BF1CC87-D108-B917-011F-8AABFC04D33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5427325" y="1976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D7E7F5-FB1A-4A4B-AB95-42C3E4DE6D75}" type="datetime'''4''6''''''''''.''''''7''''''''%''''''''''''''''''''''''''''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.7%</a:t>
            </a:fld>
            <a:endParaRPr lang="zh-CN" altLang="en-US" sz="10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9D0E115-925F-2C45-A492-85E10AB4AB7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409863" y="2733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6C220F-B6B1-4776-B35D-7B4A6323D873}" type="datetime'''''''4''''''''''''''''7''''''''.4''''''''''%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.4%</a:t>
            </a:fld>
            <a:endParaRPr lang="zh-CN" altLang="en-US" sz="1000" dirty="0"/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BEFEA17F-F561-A8D1-6507-64353548DED6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5471775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BF2DF-B9E7-4344-B5BB-0F7C7E7352CB}" type="datetime'''''W''''''''''3'''''''''''''''''''''''''''''''''''">
              <a:rPr lang="zh-CN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3</a:t>
            </a:fld>
            <a:endParaRPr lang="zh-CN" altLang="en-US" sz="1200" b="1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8708117-131A-9388-1D86-345A61D32F4C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6384588" y="17541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6C0B59-002D-456E-8AEC-F460DCB5A154}" type="datetime'''''''6''''''''.''''''''5''''''%'">
              <a:rPr lang="zh-CN" altLang="en-US" sz="100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5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8B3FED9-9C6A-1DCD-13CF-C027E285D160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6352838" y="21145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4F951-F3EA-4B83-A1B0-4DCD470D98D9}" type="datetime'4''''''1''''''''''''''''''''.6''''''''''''''''''''''''''''''%'">
              <a:rPr lang="zh-CN" alt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.6%</a:t>
            </a:fld>
            <a:endParaRPr lang="zh-CN" altLang="en-US" sz="10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7BED46C-A033-9943-33ED-34299BA34FF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4690725" y="1217613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F62AD-339A-44D0-B813-BF7976113337}" type="datetime'''''''5''''''''.''''''''''''''''''''''9''''''''''%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9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6B0002EA-AE61-52BC-4DD3-D81F7979EE74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164131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15FF8-93E0-4161-9D72-0AD570010AC7}" type="datetime'''''''''''''''''''W''''2''''''''''''''''''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2</a:t>
            </a:fld>
            <a:endParaRPr lang="zh-CN" altLang="en-US" sz="12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F20F1D8-938F-219B-8D2B-11BA19C7B486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17135475" y="1487488"/>
            <a:ext cx="287338" cy="136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62D32A-DFE3-4D34-8BC9-C9FA0831DFB4}" type="datetime'''''''7''''''''''''.0''''%'''''''''''''''''''''''''''''''''''">
              <a:rPr lang="zh-CN" alt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%</a:t>
            </a:fld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DE6DA1D-E991-C904-3C8B-941E85B33CE2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17070388" y="19018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E65158-E609-4698-9342-891E29A8F0B6}" type="datetime'39.''''''''''''''''''''''''''''''''9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9%</a:t>
            </a:fld>
            <a:endParaRPr lang="zh-CN" altLang="en-US" sz="10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3DEBE4A-B509-6E78-15A6-21F910274B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17070388" y="27257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0A6B5F-891B-45BE-AB22-454E1C8A790E}" type="datetime'''5''3''.''''''''''''''''1''''''''''''''''%''''''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1%</a:t>
            </a:fld>
            <a:endParaRPr lang="zh-CN" altLang="en-US" sz="1000" dirty="0"/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24918762-8EF0-B3D8-C1D6-F41FE59E6EE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17352963" y="3314700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F3F81-7D75-45FF-A2AC-D2A45D64BB45}" type="datetime'''''''''''W''''''''''''''''''''1'''''''''">
              <a:rPr lang="en-GB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1</a:t>
            </a:fld>
            <a:endParaRPr lang="zh-CN" altLang="en-US" sz="1200" b="1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D1E28A4-395D-46CB-080C-3C87A7BF25C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4485938" y="10112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22916-B700-42FC-8B67-FECA4A4BAD0F}" type="datetime'''''''6''''''''''''''''''''''92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2</a:t>
            </a:fld>
            <a:endParaRPr kumimoji="1" lang="zh-CN" altLang="en-US" sz="14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26B8D06-4375-37D4-2D45-1883CAF14F92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5425738" y="10985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B3B69D-6388-4B5E-B587-01337D533F89}" type="datetime'''''''''6''''6''''''''''''''''2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2</a:t>
            </a:fld>
            <a:endParaRPr kumimoji="1" lang="zh-CN" altLang="en-US" sz="14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7C4A60E-0D44-1789-586F-76B10E02486B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6367125" y="14081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FAF6D8-51C0-4F4C-9F00-7E0E58939771}" type="datetime'''''5''''''''''5''''7'''''''''''''''''">
              <a:rPr kumimoji="1" lang="zh-CN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7</a:t>
            </a:fld>
            <a:endParaRPr kumimoji="1" lang="zh-CN" altLang="en-US" sz="14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B52B202-A970-EEE3-BB18-2330DF86DE62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17241838" y="11557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5ABBAC-7506-4FE9-A9AA-6F30FCD88D50}" type="datetime'''''''''''''''''''6''''''0''''''''''''''''''''''1'''''">
              <a:rPr kumimoji="1" lang="zh-CN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1</a:t>
            </a:fld>
            <a:endParaRPr kumimoji="1" lang="zh-CN" altLang="en-US" sz="14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52894265-C13F-A54B-505C-241BCF9B8E75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6351250" y="27686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9AB83E-F6EC-4F59-A842-273C3536A1A2}" type="datetime'''''''''''''''5''''1''''''''''''.''''9''''''''''''''''%'''''''">
              <a:rPr lang="zh-CN" alt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.9%</a:t>
            </a:fld>
            <a:endParaRPr lang="zh-CN" altLang="en-US" sz="1000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5685A449-5AAC-8F51-369D-B3E7C7AFC02F}"/>
              </a:ext>
            </a:extLst>
          </p:cNvPr>
          <p:cNvSpPr txBox="1"/>
          <p:nvPr/>
        </p:nvSpPr>
        <p:spPr>
          <a:xfrm>
            <a:off x="10465596" y="2941640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23B79A28-47E2-A053-F69F-1FD9FED5F632}"/>
              </a:ext>
            </a:extLst>
          </p:cNvPr>
          <p:cNvGraphicFramePr/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407098746"/>
              </p:ext>
            </p:extLst>
          </p:nvPr>
        </p:nvGraphicFramePr>
        <p:xfrm>
          <a:off x="514350" y="6638925"/>
          <a:ext cx="8207375" cy="27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195" name="直线连接符 194">
            <a:extLst>
              <a:ext uri="{FF2B5EF4-FFF2-40B4-BE49-F238E27FC236}">
                <a16:creationId xmlns:a16="http://schemas.microsoft.com/office/drawing/2014/main" id="{8A9B95C2-D5C8-5231-63B8-731A99B574A7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8150225" y="8029575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线连接符 103">
            <a:extLst>
              <a:ext uri="{FF2B5EF4-FFF2-40B4-BE49-F238E27FC236}">
                <a16:creationId xmlns:a16="http://schemas.microsoft.com/office/drawing/2014/main" id="{A158518A-807C-27DC-0E75-9A25CB8DDB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119688" y="928211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直线连接符 152">
            <a:extLst>
              <a:ext uri="{FF2B5EF4-FFF2-40B4-BE49-F238E27FC236}">
                <a16:creationId xmlns:a16="http://schemas.microsoft.com/office/drawing/2014/main" id="{674B9A19-79FC-3B78-C88F-6A6FB7BDDA26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 flipV="1">
            <a:off x="3109913" y="7491413"/>
            <a:ext cx="0" cy="39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直线连接符 98">
            <a:extLst>
              <a:ext uri="{FF2B5EF4-FFF2-40B4-BE49-F238E27FC236}">
                <a16:creationId xmlns:a16="http://schemas.microsoft.com/office/drawing/2014/main" id="{61386161-7567-EE2B-139F-9DDE6533E158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 flipH="1">
            <a:off x="1112838" y="7294563"/>
            <a:ext cx="39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直线连接符 155">
            <a:extLst>
              <a:ext uri="{FF2B5EF4-FFF2-40B4-BE49-F238E27FC236}">
                <a16:creationId xmlns:a16="http://schemas.microsoft.com/office/drawing/2014/main" id="{ED50ECBE-F4B0-93A9-1E03-A1E021B9045B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2105025" y="7548563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A247736-8AE1-646A-ACD7-9844689C509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927225" y="7072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196EE-6ED3-4D5D-9796-258EA9436370}" type="datetime'''''''''''''6''''''''''''''''''3.''8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8%</a:t>
            </a:fld>
            <a:endParaRPr lang="zh-CN" altLang="en-US" sz="1000" b="1" dirty="0"/>
          </a:p>
        </p:txBody>
      </p:sp>
      <p:sp useBgFill="1">
        <p:nvSpPr>
          <p:cNvPr id="120" name="Text Placeholder 2">
            <a:extLst>
              <a:ext uri="{FF2B5EF4-FFF2-40B4-BE49-F238E27FC236}">
                <a16:creationId xmlns:a16="http://schemas.microsoft.com/office/drawing/2014/main" id="{6E4540A1-9800-3F35-0D3A-FFEE9AA97484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927225" y="74120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5D7DAA-C347-425E-ABF5-F270CA763077}" type="datetime'''''4''''''''''''''8''''''.8''''''''%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8%</a:t>
            </a:fld>
            <a:endParaRPr lang="zh-CN" altLang="en-US" sz="1000" b="1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5C7B160-184A-FFC8-9C9C-8CCFB692804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88900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0D07E6-AC7B-4538-A906-E42356E0942B}" type="datetime'''FY''2''''''6''''''''''Q''''''''''''''''2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2</a:t>
            </a:fld>
            <a:endParaRPr lang="zh-CN" altLang="en-US" sz="1000" b="1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4469721E-9C15-7D40-C5A6-95CB6D3A11D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1895475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53F224-F43E-4ABA-90A9-48C66219B5B2}" type="datetime'''''''''F''''''''''''Y''''''''2''''6''''Q''''''''''3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3</a:t>
            </a:fld>
            <a:endParaRPr lang="zh-CN" altLang="en-US" sz="1000" b="1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2D0E834-7C33-621C-2B97-C5E984214B55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gray">
          <a:xfrm>
            <a:off x="2932113" y="7531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D2EB37-C7F2-4370-82AE-C286DF26CD20}" type="datetime'''''5''''''''4''''''.3''''''''%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3%</a:t>
            </a:fld>
            <a:endParaRPr lang="zh-CN" altLang="en-US" sz="1000" b="1" dirty="0"/>
          </a:p>
        </p:txBody>
      </p:sp>
      <p:sp useBgFill="1">
        <p:nvSpPr>
          <p:cNvPr id="137" name="Text Placeholder 2">
            <a:extLst>
              <a:ext uri="{FF2B5EF4-FFF2-40B4-BE49-F238E27FC236}">
                <a16:creationId xmlns:a16="http://schemas.microsoft.com/office/drawing/2014/main" id="{0AEE1318-9DCA-DF81-506C-8EFB41260E2E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1152525" y="722630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9224F2-D78D-4366-90AD-AAD36A492C71}" type="datetime'''6''''''''''''2''''''''''''''.''''''''3''''''''''''''%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.3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193DFDC-B549-5331-4CCE-887198CDE7B3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2932113" y="6934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8555A-9A1E-42EE-9D41-DBB502B647F1}" type="datetime'''''''''''''6''''9''''''''''.''''''''''''''''8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.8%</a:t>
            </a:fld>
            <a:endParaRPr lang="zh-CN" altLang="en-US" sz="1000" b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191A745-5A57-5101-C7C8-682CC97612CE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2932113" y="77628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9A2D34-5095-4554-B1F0-3A122805D296}" type="datetime'''''''''''4''''''''''''''''''''4''''''''''''''''.''''''''1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.1%</a:t>
            </a:fld>
            <a:endParaRPr lang="zh-CN" altLang="en-US" sz="1000" b="1" dirty="0"/>
          </a:p>
        </p:txBody>
      </p:sp>
      <p:sp useBgFill="1">
        <p:nvSpPr>
          <p:cNvPr id="141" name="Text Placeholder 2">
            <a:extLst>
              <a:ext uri="{FF2B5EF4-FFF2-40B4-BE49-F238E27FC236}">
                <a16:creationId xmlns:a16="http://schemas.microsoft.com/office/drawing/2014/main" id="{6FA87746-FE07-F5A7-42A7-596C0D89A215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2932113" y="72628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E8E43A-615D-4CA0-AE0A-172F9F729C8E}" type="datetime'5''5.''''''4%''''''''''''''''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CB104BB-DB41-3B6D-F5BD-DC16EE4F7B52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2900363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6D99C-E1ED-41F4-BF5B-42F74AADBA07}" type="datetime'F''''''''''''''''''''''Y''''2''''''''''6Q''''''''4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6Q4</a:t>
            </a:fld>
            <a:endParaRPr lang="zh-CN" altLang="en-US" sz="1000" b="1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A876B14-F632-DF52-7B19-3DC0870EC22C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3937000" y="70231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6E0BF2-16DE-4C50-85AE-7D8E655678B0}" type="datetime'''''''''''6''''''5''''''''''''''''.9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2CF3F47-0648-EB13-CC82-D3DFD95F0F0B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 bwMode="gray">
          <a:xfrm>
            <a:off x="3706813" y="81184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61D515-C9C5-468A-9B20-C065A7A9E435}" type="datetime'''''2''''''3''''''''''''''''''.''''1%'''''">
              <a:rPr lang="zh-CN" altLang="en-US" sz="1000" b="1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1" name="Text Placeholder 2">
            <a:extLst>
              <a:ext uri="{FF2B5EF4-FFF2-40B4-BE49-F238E27FC236}">
                <a16:creationId xmlns:a16="http://schemas.microsoft.com/office/drawing/2014/main" id="{721C7FCA-137A-D86E-45D7-C967B7993BCD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 bwMode="gray">
          <a:xfrm>
            <a:off x="3937000" y="73929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76A2FF-FCAD-4AAD-A00C-F1D9900D28F8}" type="datetime'''''''''4''''9''''''''.''7''''%''''''''''''''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.7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32" name="Text Placeholder 2">
            <a:extLst>
              <a:ext uri="{FF2B5EF4-FFF2-40B4-BE49-F238E27FC236}">
                <a16:creationId xmlns:a16="http://schemas.microsoft.com/office/drawing/2014/main" id="{DE71F8BC-56DC-C35B-73D2-0E985B30483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 bwMode="gray">
          <a:xfrm>
            <a:off x="3937000" y="78882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82403D-8EB1-4E4D-8276-E4BAEEC6667C}" type="datetime'''''''''3''''''8''''''''.''''6''''''''''''''%''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6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067890C5-F2A9-92D6-67B0-4E6FCC274267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3905250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25D3E-122E-49E2-8BBE-47D1859E6DEC}" type="datetime'''''''''F''''''Y''''''''2''7''''''''Q''''''''''''''''''''''1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27Q1</a:t>
            </a:fld>
            <a:endParaRPr lang="zh-CN" altLang="en-US" sz="1000" b="1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F947533-A601-E2D0-BB8B-BC187BF96FAD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 bwMode="gray">
          <a:xfrm>
            <a:off x="920750" y="6786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727087-613C-40EA-836B-6AA20152261F}" type="datetime'''''''''''''''''''''''''''''''''''''76''''.''3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3%</a:t>
            </a:fld>
            <a:endParaRPr lang="zh-CN" altLang="en-US" sz="1000" b="1" dirty="0"/>
          </a:p>
        </p:txBody>
      </p:sp>
      <p:sp useBgFill="1">
        <p:nvSpPr>
          <p:cNvPr id="111" name="Text Placeholder 2">
            <a:extLst>
              <a:ext uri="{FF2B5EF4-FFF2-40B4-BE49-F238E27FC236}">
                <a16:creationId xmlns:a16="http://schemas.microsoft.com/office/drawing/2014/main" id="{03A4D5B2-FA57-2A43-A248-9CE4B00C4DD0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 bwMode="gray">
          <a:xfrm>
            <a:off x="4922838" y="9145588"/>
            <a:ext cx="3937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AC315-EC0A-4D8B-A2B9-2B3F3A39368B}" type="datetime'''''-''''''''''''''2''''''''''''''7''''''.''''''''''3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.3%</a:t>
            </a:fld>
            <a:endParaRPr lang="zh-CN" altLang="en-US" sz="1000" b="1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BA458F0-2532-F2F8-CB30-D6B771EBC0A0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 bwMode="gray">
          <a:xfrm>
            <a:off x="920750" y="7083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0D51AF-529D-40C0-9010-CBDE63A55C66}" type="datetime'6''''''''''''''3''''.''''''''''''''''''''''3''''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.3%</a:t>
            </a:fld>
            <a:endParaRPr lang="zh-CN" altLang="en-US" sz="1000" b="1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504D5B3-C240-7785-D676-5930D83A0CD3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5018088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4271-74CD-458E-9A94-DF922AE4819C}" type="datetime'''''''''''''''''''''''''''''''''''2''''''''''月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月</a:t>
            </a:fld>
            <a:endParaRPr lang="zh-CN" altLang="en-US" sz="1000" b="1" dirty="0"/>
          </a:p>
        </p:txBody>
      </p:sp>
      <p:sp useBgFill="1">
        <p:nvSpPr>
          <p:cNvPr id="116" name="Text Placeholder 2">
            <a:extLst>
              <a:ext uri="{FF2B5EF4-FFF2-40B4-BE49-F238E27FC236}">
                <a16:creationId xmlns:a16="http://schemas.microsoft.com/office/drawing/2014/main" id="{07ECF9A9-EFB4-6BF9-8936-98045992E59E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gray">
          <a:xfrm>
            <a:off x="5718175" y="711358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7066CA-7ADD-4C94-B889-C3FFAD4BB871}" type="datetime'''6''''''''''''''''7''''''''''''''''''''''.''''''''''2%'">
              <a:rPr lang="zh-CN" altLang="en-US" sz="10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7.2%</a:t>
            </a:fld>
            <a:endParaRPr lang="zh-CN" altLang="en-US" sz="1000" b="1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216FBB56-00F2-44E2-3FC2-F74F4A8176AF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gray">
          <a:xfrm>
            <a:off x="5948363" y="65325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44CB1-94CB-4B7C-AAE2-29AB3545888D}" type="datetime'''''''''8''7''''''''''''''''''''''''''''''.''''''4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.4%</a:t>
            </a:fld>
            <a:endParaRPr lang="zh-CN" altLang="en-US" sz="1000" b="1" dirty="0"/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6C211480-7146-4EE8-EBF1-56F1BFDD891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gray">
          <a:xfrm>
            <a:off x="5948363" y="7361238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5018C-DB16-4B45-9620-A2022BD6EA7E}" type="datetime'6''''1''''''''''''''''''''''.7''''%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7%</a:t>
            </a:fld>
            <a:endParaRPr lang="zh-CN" altLang="en-US" sz="1000" b="1" dirty="0"/>
          </a:p>
        </p:txBody>
      </p:sp>
      <p:sp useBgFill="1">
        <p:nvSpPr>
          <p:cNvPr id="119" name="Text Placeholder 2">
            <a:extLst>
              <a:ext uri="{FF2B5EF4-FFF2-40B4-BE49-F238E27FC236}">
                <a16:creationId xmlns:a16="http://schemas.microsoft.com/office/drawing/2014/main" id="{41791812-8EBC-31DA-5B05-5DC5E00EE416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gray">
          <a:xfrm>
            <a:off x="5948363" y="686276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47B38F-22D1-497F-81DF-6CDFEC02CFEC}" type="datetime'''''''''''''''''''''''7''''''2''''.''''''9''''''''''''%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.9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4D041042-4EDC-288F-680C-B38BBA9033E8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6024563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54BE6F-6613-4833-B9A2-3B60BD48CFDA}" type="datetime'''''''''''''''''''3月''''''''''''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月</a:t>
            </a:fld>
            <a:endParaRPr lang="zh-CN" altLang="en-US" sz="1000" b="1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624BC34B-DC7E-1064-6591-4084E94C55D0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gray">
          <a:xfrm>
            <a:off x="6953250" y="71008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A58382-1379-487D-84C6-76AAE0D9445D}" type="datetime'''6''''''''2''''''''''''''''.''''''''''''''''''''5''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5%</a:t>
            </a:fld>
            <a:endParaRPr lang="zh-CN" altLang="en-US" sz="1000" b="1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4A48CC7-411B-BD71-9E56-5F66146CE18C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gray">
          <a:xfrm>
            <a:off x="6953250" y="8199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055B6-6425-40A7-AFED-197B8B69B3B4}" type="datetime'2''''''''''''''''4''''''''''''''.''''9''%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9%</a:t>
            </a:fld>
            <a:endParaRPr lang="zh-CN" altLang="en-US" sz="1000" b="1" dirty="0"/>
          </a:p>
        </p:txBody>
      </p:sp>
      <p:sp useBgFill="1">
        <p:nvSpPr>
          <p:cNvPr id="124" name="Text Placeholder 2">
            <a:extLst>
              <a:ext uri="{FF2B5EF4-FFF2-40B4-BE49-F238E27FC236}">
                <a16:creationId xmlns:a16="http://schemas.microsoft.com/office/drawing/2014/main" id="{21CD49BA-B24F-5E81-20BA-85805DF7E80B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gray">
          <a:xfrm>
            <a:off x="6953250" y="7453313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107537-61C4-4ED5-9FE4-FA4E6660B9AA}" type="datetime'''57''''.''''''''''''7''''''''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7%</a:t>
            </a:fld>
            <a:endParaRPr lang="zh-CN" altLang="en-US" sz="1000" b="1" dirty="0"/>
          </a:p>
        </p:txBody>
      </p:sp>
      <p:sp useBgFill="1">
        <p:nvSpPr>
          <p:cNvPr id="125" name="Text Placeholder 2">
            <a:extLst>
              <a:ext uri="{FF2B5EF4-FFF2-40B4-BE49-F238E27FC236}">
                <a16:creationId xmlns:a16="http://schemas.microsoft.com/office/drawing/2014/main" id="{C4232740-5D95-ECC5-D9F2-E300E7E62E89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gray">
          <a:xfrm>
            <a:off x="7185025" y="76644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D0B5B4-11BF-4ED7-9915-AF60D3ED727C}" type="datetime'''4''''''''''''3''''''''''.''1''''''%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.1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A38FEE4-ACAB-1900-DD58-149AAF95463B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7029450" y="9377363"/>
            <a:ext cx="204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6D5312-E0DB-4C37-B9A6-D8BCB2583CD6}" type="datetime'''''''''''''''''''''''''''''''4月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月</a:t>
            </a:fld>
            <a:endParaRPr lang="zh-CN" altLang="en-US" sz="1000" b="1" dirty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87338524-0827-C8BA-B0A0-002974C5580B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gray">
          <a:xfrm>
            <a:off x="7958138" y="69072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72479F-87A9-43D2-B207-2F79E546B078}" type="datetime'''''''''''''''''''''''''''''''7''1''''''''''''.0''''%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247A2CE5-BCC8-EF8B-9EA7-2C25DEB5F541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gray">
          <a:xfrm>
            <a:off x="7958138" y="8326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109701-B1DB-4502-83CD-AC14B3EADECE}" type="datetime'''''''''1''''''''''9''''''''''''''''''''.''''''4''''''''''%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4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 useBgFill="1">
        <p:nvSpPr>
          <p:cNvPr id="190" name="Text Placeholder 2">
            <a:extLst>
              <a:ext uri="{FF2B5EF4-FFF2-40B4-BE49-F238E27FC236}">
                <a16:creationId xmlns:a16="http://schemas.microsoft.com/office/drawing/2014/main" id="{7932B48F-B98B-B14E-61A6-E39BF4869631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gray">
          <a:xfrm>
            <a:off x="7958138" y="7727950"/>
            <a:ext cx="355600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07CE80-B342-4F08-B752-F9E7B6A2C3F6}" type="datetime'''''3''''''5''''.''''''''''''''''0''''''''''''''''''%'''''''">
              <a:rPr lang="zh-CN" altLang="en-US" sz="1000" b="1"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7DA1E70C-E703-A9FC-52F4-197A6B19F465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gray">
          <a:xfrm>
            <a:off x="8189913" y="79613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68BD37-AF87-4837-A14F-CFB15C46E829}" type="datetime'''''''''''''3''''''''0''.''''0''''''%'''''">
              <a:rPr lang="zh-CN" altLang="en-US" sz="1000" b="1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0%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95B37D-9D38-F0CC-591B-F653A31DEBF6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gray">
          <a:xfrm>
            <a:off x="920750" y="7413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E0285-6700-4281-9B25-D36560ED38A9}" type="datetime'''''''5''''''''''''''''''''''9.''5''''''%''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.5%</a:t>
            </a:fld>
            <a:endParaRPr lang="zh-CN" altLang="en-US" sz="1000" b="1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0BE8B7E-F20F-8E2B-445B-80C773A1ADE7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926388" y="9377363"/>
            <a:ext cx="420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AA4412-B8BF-430B-8DD4-815FC88458DB}" type="datetime'5''''''''''''''月''''''m''''''''''''''t''''''''''d''''''''''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月mtd</a:t>
            </a:fld>
            <a:endParaRPr lang="zh-CN" altLang="en-US" sz="1000" b="1" dirty="0"/>
          </a:p>
        </p:txBody>
      </p:sp>
      <p:sp useBgFill="1">
        <p:nvSpPr>
          <p:cNvPr id="110" name="Text Placeholder 2">
            <a:extLst>
              <a:ext uri="{FF2B5EF4-FFF2-40B4-BE49-F238E27FC236}">
                <a16:creationId xmlns:a16="http://schemas.microsoft.com/office/drawing/2014/main" id="{AB6F3FB7-E6FE-FD85-CD42-FC81E83DB49E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4956175" y="8736013"/>
            <a:ext cx="328613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BCAA8-2361-449B-9109-FAC45C4EEC1B}" type="datetime'''''-''''''''''''''''''''''''9''''''''''''''.''3''''%'">
              <a:rPr lang="zh-CN" altLang="en-US" sz="10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.3%</a:t>
            </a:fld>
            <a:endParaRPr lang="zh-CN" altLang="en-US" sz="1000" b="1" dirty="0"/>
          </a:p>
        </p:txBody>
      </p:sp>
      <p:cxnSp>
        <p:nvCxnSpPr>
          <p:cNvPr id="145" name="直线连接符 144">
            <a:extLst>
              <a:ext uri="{FF2B5EF4-FFF2-40B4-BE49-F238E27FC236}">
                <a16:creationId xmlns:a16="http://schemas.microsoft.com/office/drawing/2014/main" id="{CC0B59CB-F064-2EFA-B1F5-64559C5A8B6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1425575" y="12392025"/>
            <a:ext cx="34290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直线连接符 141">
            <a:extLst>
              <a:ext uri="{FF2B5EF4-FFF2-40B4-BE49-F238E27FC236}">
                <a16:creationId xmlns:a16="http://schemas.microsoft.com/office/drawing/2014/main" id="{54E0DCBE-7E09-F976-D235-CD59207CA89A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65722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线连接符 143">
            <a:extLst>
              <a:ext uri="{FF2B5EF4-FFF2-40B4-BE49-F238E27FC236}">
                <a16:creationId xmlns:a16="http://schemas.microsoft.com/office/drawing/2014/main" id="{4AFD660A-F91D-5B3D-FED9-081634B4505A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1425575" y="12196763"/>
            <a:ext cx="3429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直线连接符 142">
            <a:extLst>
              <a:ext uri="{FF2B5EF4-FFF2-40B4-BE49-F238E27FC236}">
                <a16:creationId xmlns:a16="http://schemas.microsoft.com/office/drawing/2014/main" id="{B9A1DB3F-5E0C-3F12-6200-94FA338E7370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657225" y="12392025"/>
            <a:ext cx="34290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FB6417-9B4C-754B-BA77-B6E640E38061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06045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99E6A0-F54D-4E77-8E9B-F92AB9FBEA9E}" type="datetime'电''''''''''''''''''''''''''''销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电销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35B7B89-41A4-9DAA-CB84-F61E56865F39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060450" y="123332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E8649F-B0C9-4658-BC75-4316D8E6DE23}" type="datetime'''''''''''''渠''''''''''''''''''''''''道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渠道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1479816-301D-E17F-5945-BB0A1C0D8E9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828800" y="12333288"/>
            <a:ext cx="125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710C6A-4585-4B26-B7B9-9F5E9388E7BE}" type="datetime'''''a''''''''l''l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</a:t>
            </a:fld>
            <a:endParaRPr lang="zh-CN" altLang="en-US" sz="1000" b="1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47773D2A-12E9-137E-A1B1-955D0700223C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828800" y="121380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0FF243-93C3-4E5B-9034-C1A6A45045DE}" type="datetime'''''''''直''''''''''''''''''''''营'''''''''''''''''''''''">
              <a:rPr lang="zh-CN" altLang="en-US" sz="10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直营</a:t>
            </a:fld>
            <a:endParaRPr lang="zh-CN" altLang="en-US" sz="1000" b="1" dirty="0">
              <a:ea typeface="等线" panose="02010600030101010101" pitchFamily="2" charset="-122"/>
            </a:endParaRPr>
          </a:p>
        </p:txBody>
      </p:sp>
      <p:sp>
        <p:nvSpPr>
          <p:cNvPr id="243" name="文本框 242">
            <a:extLst>
              <a:ext uri="{FF2B5EF4-FFF2-40B4-BE49-F238E27FC236}">
                <a16:creationId xmlns:a16="http://schemas.microsoft.com/office/drawing/2014/main" id="{C588FE27-109C-BAC6-49CC-E71BF1076E31}"/>
              </a:ext>
            </a:extLst>
          </p:cNvPr>
          <p:cNvSpPr txBox="1"/>
          <p:nvPr/>
        </p:nvSpPr>
        <p:spPr>
          <a:xfrm>
            <a:off x="10182658" y="6151564"/>
            <a:ext cx="732893" cy="4210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教培</a:t>
            </a:r>
          </a:p>
        </p:txBody>
      </p:sp>
    </p:spTree>
    <p:extLst>
      <p:ext uri="{BB962C8B-B14F-4D97-AF65-F5344CB8AC3E}">
        <p14:creationId xmlns:p14="http://schemas.microsoft.com/office/powerpoint/2010/main" val="194842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669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4A&quot; g=&quot;76&quot; b=&quot;C6&quot;/&gt;&lt;/elem&gt;&lt;elem m_fUsage=&quot;9.00000000000000022204E-01&quot;&gt;&lt;m_msothmcolidx val=&quot;0&quot;/&gt;&lt;m_rgb r=&quot;48&quot; g=&quot;73&quot; b=&quot;C3&quot;/&gt;&lt;/elem&gt;&lt;elem m_fUsage=&quot;8.10000000000000053291E-01&quot;&gt;&lt;m_msothmcolidx val=&quot;0&quot;/&gt;&lt;m_rgb r=&quot;49&quot; g=&quot;75&quot; b=&quot;C5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.qo8eEJeF3cNhstuKi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31UPoJwOzczPJOAApLP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.45za._XxtL09N86UJ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UBxzFwqVGZa.i4oFyY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55akl8k3PHosQUpiIQ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4IEDPbFEuPWRxGpuV3q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5pHuEy2Jdh8.93Vk1O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kB7oAHvrmHtrF7XEkn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y86O1l.vaw1OW4P2rZ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M9V5iQIiCT.BaKednW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uXwu5OIGw2igfDEWB6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px4vOyy_XBuXrJPdm.N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fcRXXg_KxDtFSGBkx9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jvrgFLyRzA4TUtwsPv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bdGDvXtv1aeLlDPZu8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DZSX1p1PdxDb7aC.j9O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CTEWX8Oire9qCA.JIK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nY8x2Cy9RyaxcpkrAu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HhZw6W3zkDbEyRltUC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Mnr6Oagzr7b8FDduZP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UV9JOyY0aGoQId5x8A8Q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NMUnakiJ9h_89vhIi9g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yCaIzCTdsijIUuAe81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cSwhQ2q0EbJIda43RU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1sKc.yWDpf.zuVf.YmQ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pz6uLsQqdd2EjSzq_s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hvMVJjlJe8Vlt7FEYt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G7iek5.pAfVCA9eFV84w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Y2HMJsN1ymgyDjec_Ng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VzAMFdzy0ijrRZgBqH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_6Njl0LKIqYemg19Hmp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_4UhaGuyTWI9GfBNc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MzPgGa.bbBBOTHj0yx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DVs.aKpIkRUWk5_gDOZ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n8jr8Ms3ADWekZMpHt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DDY8j2Ac_jNrTgjISE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azMATnE_WatnIHAQDag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27nSC27z_puwLtCZJPY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EJll5J5IjIvomnc0Sm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Xs8m78BvhHEsMgaesIg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kQfBRFtqblsameBUXzg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DBa96pRWNEEtpbXmpT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SL.dJX_c.NGyqDrNrXK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z_gRBIXNhTleuRR7I1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d6Xe2hV9gOBXyBVsK_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jj_Z0tKH0wASVmkWb7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2jaPMj5V5XJ6chlJtH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1hjgiq6PzAZeP7h3x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PI89JtUJaHlMGISau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sqiViIUKYrYvk8t9D_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vRljNy.LYlkZrzTh0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85wGh7GzPbHst3Bctkw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LunCUsOdZfeC9vEwL3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9dlb4phu77YB_0FMCs1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_YUzgULAQj6QkLgi4Nd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U8XCTWFBs1GOhwYyOt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yWk80yAWUiBSD4GX6f9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BUBz5TFzYKo_d1y7YXA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vr51hOJkk1HTRY558s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34HZagsMEVgz0vNzFg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6dllksZ6ZZKuu.a.zp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qEgDhg9zh7T6UtSoAJ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UF3Bgx2AaSRbdXvUdq9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fZs3J8paPbc_8qDXYK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rUmpyZWzloTxQYwYP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b6TU8jioid8dIyojZNt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l7JTe0QoYVOgYNpRdZ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KkTxNTzd1o4TCqobx1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YNeBaaaZHvl0bqQUcF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.1xQ2otnoemXyt7Ca5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QTmdrc.EyoS4TeNYjA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objcPUiA0REThyTowZ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BS0o9Szw3gTj_k0fWY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UWhAMOIbk5YRkifRky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GnC3b_zIxZGf2n09nCn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boqzZBfUELx8MEyot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y31rC4l9URfro0m4qz1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Z3whs0TLSL7aElMe5Qg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evYTH7I9mru9asQTH3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5HUaR2jYrKBhu41RY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8ofNfU6tm6S1WFwMeYQ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SJbxnFQJEvlnn178g0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6vYTwhXrdS4.aunqs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8wVCi5yjuyUbV_P76uD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QY8ai9q86q5py8VgL0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bazcFt7vqmzfsW3vbc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qsIIpf.Qxs9E1SnNKUy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1ANrFQFLqlrLGTOZiA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Zhl5.GMntgbjqQJ_H3e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dMMshXp9qcG1Ngcc2BE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hDmY.L0ycYhh.RowX0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BJBassr_dx2ghdGfqz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G.dyIP2bJkPfMiJXemN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0wZBYnkj4B6HTK0RvYi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Go4ID0Y6WG90iCTaJn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BywCMco8tdeSwPZOoJ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_dsCFsTZ0tek8CqQ8x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ehsEnJ6cf.IJC.LD8F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Qkk8N.ab_w1nl0sejE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pSWBZGdTSLTePmbQh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v1Frlk2f0Ls7klDNu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xXhIa6xzYaT2Q.ZHmp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t92PIum5h4u3RCk.7ww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U5RwVSbMvo5Buw.grD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znr3P0vU..VoJZyAP0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cS6wJwypMCjYq83vXB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7l1z1ejVwqKIskCqN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d9rAUk0wbvv1IOa1.0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OUQEXU9F22kBXOaDCF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uEM3B6PQWxrOTtN1fab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bLxzH45p9rxGo1ltYPc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fpEkCOIvE7KEmTc9Pz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1hb1Q8qe.RqQCvBU0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Nwjq_wS4eIUyESvxOe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wqrTMZ56KH1prArmIP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WUVhQWQHoqbdHa5B9MH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nTM77uAwC77tmqnmgtP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Wp84.tmv_JNrv.vaN4S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OCS1onSNKuYhSxzKZ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4B_Sf.9bh3RxIjs_igx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QXJsDZOjyZs9TG59Fk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fUxkoeLdenoYQF4vyF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ZsXCRB_usYBJbyEMS0R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RtBs5sd0smKghxVwX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1uRKs9wwJXZCIea1LwC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OEN62YKJRQwUaUTPNG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qnp7vGjbiYp4HWCAQX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DGVTU6_K7Bbom84.Qxj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TsM096vsyky1tUrQNRq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bCdhw2sKW_4.G9SLx6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PP_BTVrd1QJ.urumtP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oxJI0.tksOPUz1w9LfC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BidCG0c9jWrRNcI_Ei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Qec_g4elhsBYG0Iut7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DNl_fPTk5JeejihSHf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X_rvvw0ZMCSWcq9MuGD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qKhJvTZTHzlJ0VG1Fvv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AnOShJrFYQ5.1sYC7.W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fYk5Jj1MN0Biy36VYAS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sOVU1NZtTz6xmE0r_N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xgfxGojUq1Vsc34jwk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3Z7y7YcrAoTvIWtepX4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dhClJqMkWMWN1xWcLyJ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qZ3VOEMRhfJDosQYwpL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9Foq2S1FDLPmoFosp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WmsQ28mUtvjGZHY6N5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Nh2t0w_oDdjC6EUbeU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QpTIQSKUpTTOzmTo55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Y.INAU3ZqMgNPLtRS7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h7tNrNYtFjnn2s_YC21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SRq4M2uJXwuy3yCQlGa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F8yWIR4gNc9F1H3zSWo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U7YmYa6BTGjsWwdMfOQ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jEfsknkJDWHiw4PysH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sCnyj_WS2Irw5dTWSrT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OAFbOCfXlN5CdfB_c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tGCPfu0kEREiv66FvqN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Wenzvlb11IAi.dMxmnY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pxzOlWhl2oUYVcTjHt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hyxTx_QQE3QPaFEJkG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MRUjELJDlJjDrXJ.sa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ce3Zs_yRphoH_yqx_W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x6Dbtzhv4fUlly29v6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2toDc01wSHxB6lBWY0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Ed3s5rMrSRKQ2cLctmw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5KUy.SbmpAHMCrrymh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iWvqvhS2PzVumxiYEJo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P062Stl3wu1AqW_5Xa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mx5DQ9d8z910BQhuy0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Zvm_.oosDWe40Jbm6OU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UDsfmpiPE3_lV8aDBR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laEqA75lZi390sG3kn1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gZXRV2cTe9qSwSR9LV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klRtkpj6u3X49Q1wNHT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adH42tc2Dd1cKHdBKb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agXh1jB65cjFKkcpI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ujg3XxQw.czqh0sXimH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3LfEjxy6s7sGpdmde2.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sOoAmqaskwPtl786Q1E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GDY0a9obM9myOjO3l2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rVohRIWyMtToWLFo5z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NwFGwu0hCYaVO5Tiey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24dvU02pwmSIgSPl65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AGZIZ0ru6rl1eG0eSa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gqcCKtrq3XK8YQOE20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UBbKK6tn9wA1FufOTC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T7oboHnBorJQtb2HmVE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Rv3_W1YIcWfDdqd9wJs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W3_cUHNO.kPS8jCN5Fm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VOkC2Hqce8IhfP3vaT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kvkOCXN9kyKMaAsXCnm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8E6Pdv8w07D8Poq0ds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4Z._E8uO_cStmSbXy6D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4.VviRvTLoznnqc5aaQ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_kF1oZ08pZdOJnMDbMc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bmOO_ZSoneW2tCI6T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CdkHr2knyhxe0Ohn4Cq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jKN1.ElQ_hE7Ig6ryR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Vsg7t__JJjHOg8QeV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siKOpjZhL5vPNzT0PLw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mh5tQ7BTAneaUacLXy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UARX_ucvvyZvBSjyey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9NFN9X_NScMkDaVbT_k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3DoHYlG8g._Ei6dJQ7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OinxW.uGtmpkjxknjK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XL_jv86wxQ56eZQQv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pqLdJzLMRuhkqd9x7r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qG1F7plx0lft.NgvjBc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TGIvCvWEiB2HjxfmYNr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FbNQQN7F1sisx2OECf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yaIO6jA_18J9.zAzzr4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3qjOmDZmZuZ_tAYIEy4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dNxcGt6wllw6D_2eJkC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fse2HPi3DkOBxGGSBI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ekp_S5o8N8YxEUmewG4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VADCqlPzxOpbQPxfiNg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r358Tlf4Hw0fsONECY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5KjdMlC8d9WsGzAwto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oJsQRVnMEVete67VDZ3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NmEnZeXI__stR1XqB4T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BqFcIgvwYqiujnQxIkV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iTVElD9sC7Q8eWZ6Ke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jn2rYMKKmuexs2A2VM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miZG5hs9CDDs6G0r2cv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8Ch8Cd2mbPlS.kNYO9k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5S2XVIfu_47XK.N3qIk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ZKVAhhv3fVvy7YC4.6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m4XuAlL_3kMmn9E1zFt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_DtUEPRpblvOTgpgu0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gwWxEC5rz07eGNKpwfP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4EKylXb62uGNi3slz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escE8PkTLYYrY_XCl3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0j42Y4VVRIAVBxUZODC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j2iMWBd1ePnouIbgct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4ebCB1E3e7vDgzVIVyW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RBuGmXFdNJ_aNYbLW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0ItfYEqnS8yuLALNWf_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pyZgb2NKGzIpga76s3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LDcg9xbq3jdzXgoBWA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fIf3Lc_3vw6HYjsTBP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lHjjPj4y.k4QWqXFRa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UMVd4bsCffhr5DSn_B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p85LIN4KwRzf6o5Jpl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26wapXpoAtuvvyNZrWe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qHY83VfrjszNMvfx_A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YKDN9hm2l1oScfb26l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r5X4Ur9iNpMye34rexj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fZ_4vhI.z4OWzhnyP_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v8SK0ZHNxWBlg9_RRes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4kHjNs.EPsIhbFkQ7o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TuvGCcxahCbcMRaWD1F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bI47rEoQwQmempUs7W4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qxV4wETsSICWUrs2Qc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P8ioV8vsc43xfJcq9Y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Wzu_J7EXg3K8D.h_Wt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gigXvXYdDZtFNUQPH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KsWMRbJyjKcrAtlQDa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EdAxzsONmivTztJ.Zw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31OPeKEsn_rHbNxHDt5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Qefx4l.03flErOMAokZ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vw7KDV_2H9FCybzQqW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deW._T4m.vGBfzBzIW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AnXHX4h1nsMpyQvsRoJ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KFOYHlhZzPfIF9ddM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tOAIyhSzOTegqc_i.rq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v6s.lm8oSMETpEo67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TLfX28S_N7Jd00err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NvjdveKzNsoUKF5joI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uhocwomH_ky3TtmxrRo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vS6x_x03qPEIgfyfNv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bLdgeuE9iSwyMN980D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YIAVrMhTbf8i5uHIFc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.9xNNJuaIQRrIDxBXa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1A31.dMAJ4f2TXVfG0d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A4n.o2TDxfb18SYbWG1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OB8f8NY3lI97c7Ke1D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XbWrWi9MlFgOeC68KS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zhGTSpPjub6xfssDuD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PW2dbTx044Q8PERpAJ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RrvMOuVHXV6qRQyRS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i8z0KDUbUV8PlQ7tQz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SoFm1sXRaY5iVu8jhZY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AWy3u7Fv67PWJ70vne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Bcbb83pebXji1IWRaF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gWQUZTpYKirEdQhCF_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ng4bNuOqRYRryE6w1Ww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FkNNAjzBgIujKg7KVX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tsxoSy3_cNf1Qt6gbk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flCdA8KnF5DkDKUaf1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CvmmTfA1lkzzmBEuTJ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0SlI9FYj3NdyJVZEZyp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CvsdnSbPyVKWdb3S1R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H7xYueKD.g.TSvq.vp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ZdM0rFeWL3UbNwZZMd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.YwW8J1Jb_8vYqQXYRB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xtJm57oHAq_nM6Sr6U0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LJ2.qyM8m4Zv5Lb96D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2c6js2J_wONNzNuRNJJ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2gnBV9hNCAfdJPVOro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0.YzAA2xc8HNsruQ3kY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S_YzJ5VYAw4ZQ5EH_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paduZuU1JpfnTDiQUt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nJI.bzoRVU7gKSA1r2d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P4d4JdE5S6Rz7AHhS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85XHrmFd39WuZxrwoU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uS6o6hFcyPPIjIEXFk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BIV0qBQmxkBnQerv8O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mzst24zFKzszUth9XZ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cOHGM9k4uuP0w4UWDL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2EaCf8Wrcjh_J0GDmT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_sxPrxoeV64lTvPrmO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hVak4MkxBsZ7brrPm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jAayHytNpwAp7Ys4ok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62G6VwsO2Ho7k1Sl.wc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VcUSb5lpmuntbx7xVr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OUEEMTKwtt.mGi4i40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cefTKKq8EzsNBhOCW1w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7LgP9ojV5TU_PlIgUr8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eT2G3PRHLBDrKcQvE5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hcpXVguDmDKhI6Wmqa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8zSIi4Dj_sZPHNGfxu7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0sJlJWvmIpoGVDrCuJs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RnWxkkEega4RuDNZO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1nWeyHEtvh.ehA4sEJ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KcYDCW6OWexZYmNyg7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sxk8.DnBe4mwj6DXcw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W9emeJ_8EQta_98DpsX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Z9bCDJJgbU3x0RcXgR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j8IjggkqEzjC_ZzeBY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83J3KuMkwq.vFGVBcWx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43E2VDOukKAd0QIUp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9D4gyBwqL0B14NHK6O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g1tGanfOL6ziWYGB48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IYOo6AyN71fQnWlORD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cukyDlvutQ2ZGUjJ5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xTc5CXxnV6VX3xoFR2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QDbjXL3iHMnfZYWEm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g16FuwL.2.kcytN1Y.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yTFPCelBscJ5erVi0kW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rXSPMLLfKLcXKAcfn3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TnAtbRMgeh81dPzD0K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oaQMPr2hJbG8Opoau7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ZN0Y3nGMtwOQlMDAg1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7XmCR2nd2lCiXUuGZ.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vZ64.7ewuXMa35jJq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k1DWPi4AH_ezMZiaq1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HDYmXEmyGZ78vvhhuE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q201Ab5aghgbQV2tWM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nTvigCG7iIjPeaTuom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5ll2FVEVI7.lL9W1sb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0Ljzf3Sf_X.e83aHmS9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5HG21K1545dOI5fbpit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GC0ZMWDuqnOjpGPmu.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k_UQsltfGYI32dGGc2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s_d30FVqMTKB0yv2.v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uJ8xsa97BULxLSkcC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IFP0fN249kHZ2FE2Vw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WSyWT5vj3eiUqUc_2b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9rCaw0oU7EQAhHcbN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ACsWh6s_GDCXgxeBvY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M6Ogyryv2lB4pnOPjK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XptC.AWHVslYUhJe4o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vFdSkerK2Ofqj3USZwA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NWcdLYQGBP8oxXfTMN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se5AGZtHJCw__lyCWu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KOVfr7jIsILhCIYh9R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bmAb9yVA_YNQjs1JV6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I0TW9H5cghNEfixwJ8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CWCT56_zb6yPq2XNZv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4HGs0lNxNEtRXelV5YP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PH.Qq_REbrzNFrmuu5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L0DNEL6.qUg188JSQv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_O3d1fCY3qDmFvJu0NU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tLfKrKEPBY_ougQIbE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.eBGL.7xZYYgxnj8.CP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GfSMnkmqe.E7bgwJVs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VSjKGCbDq4f6CW2xV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f8vi4kOzWDpF6Q2OASY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8bxJ_7EhuA28X_M4.TO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O1bS5aaMjHYYDlteM.Y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msB6vC5FK.s3sc5_49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.G2P_NQK_rQ.oBMVTR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quDVYNM19FkTRDrHE_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va3M7UYUOTODsOsLSl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viaGWlPySPPijd3IKR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TDuTJs7tzwzhQ1VxL2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FnGEaSIE4K9V8CQuZq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aTi.fEcUaGQ75BlvW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bNqQbtAuMX2g8GJ6XZ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852Zap6M54UbsRNJErM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bHBM6mfMUBiSJ2Moba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8TCiEsnhPtQ0KdBoDwE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vDieF6p4q02MfID8cL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yzMrOay.ROo4N742Ue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sy8XEq7aJkgtPL6ahK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v0pvLPEvjcb3M_F.bY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4itrIQ.JQckhDOONNUr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KNVbfes59pDLOABDfT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_8M1fXSWXGb3TYvKkU7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.cDFsgycjjG6U7NR4T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YvhJ_NPN9OiqPRy4i8V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G9bDKTrOfQyFQ_6A_x5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sq44pO1mgB5akuu8E4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TvzUB5epR8cULvNx0G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6mw9aXJBPEufHyoQkR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gn_YF6tCcg6CBLJc4S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65O8eiHvLkLL3MNky5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cNC2RTiY4Uh7hDMdh2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4tpSlF6sTqz4HRTM8p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Y_iZOHxFXXZuZaGSZL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KmO91RAQgVWwVTWEm8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1L8wFa.I8Dc3BNmgHe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M7umoOYyBs6rY9BsKb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djIuDgyxJxqADPIWHGO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oNX5mySk3boM4FdXBN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g_VIZmaFfZmDACAx.J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n8cCLrHTHAQr5FryZr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9FmKz2sMRilvWRVTlC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cWJQ4QsD.VqIHrkkRv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luIRVq5X9JrumgTaVO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KyVQrp8QEsrAwqRYpV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cd9mp67ZoSKW7qXMOnt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4DyAZuNiIiUIB_Ftp3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DhuXbRGDXjIf.IEbJmP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2BS_kLRr.J4rTnbMe3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e25.AEjzVCCeBtOPAV.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v0W62ldLDXnrhyp8If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T1tjYvvu8DCCngDoIx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ww_Cu1sG6CE3OcQRjQG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8YgDOeVn2SxApEASMq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XbbwF_CiEGV9iWGAPd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KV8dF4Kg.VHTLvtrNkT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dpxR7bkfRwXifalTx4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Bbid7Cdc6GjmUer65R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BnpjMv6VBIWgEa4ws7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JipQbIofvC_w9N8j2Zj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5X4EZYZCX921jnqK8me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yon2MrPIE8DRlozK7vY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odfew0hSXp.vgF6NS9d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lOwZuqREAvxO8mRNZR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Wj7MPqrLCaCYZao0cIs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CBOZjfIWnx3I5uKfV_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6jDezzb3ocJdSpG6rz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x5oFa4F7WmSFSGG4t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xwII0fxIvOUOuMKKxP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UsmwkSNBW2lOesiKa1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eVAKgp3Wao4805fQtTr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x2LQU8Vh85jJxMEP03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JU1Q0Hotp7hnbM.g..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ss2YeA.iXO8GlXxT5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o0WGvYDSkIyEq_JLW6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1F6kICOhhF2TVjEXFK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pgKKbnfozyTpJp9YrJ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UnYHe8O9tJQ7uDQ5L0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_coaEv7JPSfoLwqwv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MR3teYBKBXeHZJip.W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fbBuOtaPeIRxDKzGa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7NBfL4CKPoXJUn5QHR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PMj1BDtzW6Sip0ubEN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8VLvwTA2tgmyy1IzSE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p2Rt6NaXw647HcATT5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ma1UM45_M8_58MrIry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6AhQw2crD4suL_BPow5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U6z5BjYRGKeHyzBOmLR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eimGn4xHtGd5OK2tMNM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vP0iRmLZbFfwFoVeq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ei4ZZWW0g6Gao_liFK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n_xHdGT3ZgE.jWfm7d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nL4WbNn38hhbvz_AoB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dBLakWYqbnbF3fn5Xb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VGd5x2M3Dg9bhAEzsgm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RDd.RhfVG3p._ndDWLp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Va2AQQ3Tt6IsgXnvGzp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F_lGXyD_fFIFkfmfLM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3.HqvsOysm1M2P0FSg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1KYJjkJ16XInaZcgs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_vqmJRn9bJf_ZHqSyf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5NBvGIkVILQwwXKUuY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7Zx7mEgpFs0kDEcCri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QerHV8fS9cTOtA2ez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xSTgXI.EFlbMU9qPxse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frgAsZoO41SvZb01ER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DHDv.cE6NM1Z9Xmt8b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pU7go8d2SH2R8EokPAo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WSZ7aCdYKPTGU7rJ19c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nAW2UCaaKLzT99npPV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3wWBgu91sB0mXBFq9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3vJ9uGz3mDZmZ7ltxe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R.R_luVAMTzHxtL2SC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66_iYZcmio8wpxB5Ts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_jpgLPkUytMjraC5Uf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qmo_npq6rEDEolnaef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9pnecFqBIErRHE_jmbn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VjA.hXAZmqTyNWOsdjn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JXCmG_3BvaTLQyBeBLx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qb.nVefLK3mX92bEaFW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kFnx27M.aNCDmJHLgd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boqGYF3oqpt7hrxs6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kiylJFZwBWghKzdO5H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xme9RnZAYJpav76lFn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.NMrVV3ri57c3TU3Rz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82xiCIv9nP8Pm37v0.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IUK3Vk8UCrDptfdiDp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9WZdzm3oUtFr_bnpvE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v2dNagTd01lDpU8L_YH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B.PSGojH3bFzQAGbZv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_SKY_5HrgGW0T64fbcZ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gI_Tpf1ctv_0cT5.4xR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_iZB_e5iVb8pwZtaZv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T8sN6qvneM.q..xG_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CTC35MX0C3YVuOg8hPH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11jWciUVcx9FXitYaix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y6OsESmTtIdGPAAUhn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GpNn1Ik4hwH0nvzR9d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3xef9kjAuWR6YWTdAB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Mbsqu3v97.HrXOX1.R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rf9Q5qEMV6L_cd1pDj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Di7SOjrHmAZ4nLSdHXD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NcL9ReuLAoIgSSWj_JM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tNknBO5NXFYzr5xG.ff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PCmqIDnDAnIGdKdF6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DvD_HypNtJBliKWQlh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YfvOxNny6oKbZ1Rjw7P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KxfzzYFzULF5WRdVUy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S7Jl5Y7H2..NOrrOrT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j3AG.6v8YHDlOZAysSX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sxL0CyNeDHx4._37zfX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nmzIZJRYfMZpR5grLDK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m2GVbm0J9VpcNjZMhCY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MAdjsPVxhVOBAduR.O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8SuCpBlATvMSqIfN_1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JeDs49KSP1.DnSQmz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deO9vqZ6Lttth8bK1k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mBorpVA6tX8c0mB781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nAW.U_9omOjpLLsXGE6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H6y69e2VO1bbB._SAP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y86pmdl8qfB1sE0.B54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8gw4sPVotTQwguOgjb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r0iIkc.b5fGdJirxMR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F9d8lNrBLhF7GektsZr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Lw0sihada2FXycQkqC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pLnRm6dQbEY_195oOc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uEpYj_.GRPXaKhZ0t_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g.uwkiV.3UvvWuR63.z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y9CtR0VrjrJ68Bad6m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4nDK1oqawF.BqbjqJMe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t_Cew_I2BTli3QNWqp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7NmSyhomZfjEWTJ9L3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6q7FME1Gtf4lPbu3H7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PUVSbSyBhLYuGy38ToG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01p4Va9vyyU1SfBDpq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pNSSqBmKZ8SmHaxvUUl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RBSB5JxIY9lp4pvV540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YDcyu0VoZKpAtq2M7d8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X4L.ArxoafRKinGB1Iv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ngI7I.peoUAFMmBZL8E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dpXWZYb_GxBlVjXh5vB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V6czN9rPjrLzg8xIv_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4eHBgktJfT5szBM1Ya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SAdJCvcRKpHaYmWnUh6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3IM0qMhbwvH4B7RXd9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qSqXm0Q3JaLsXPLwQgK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ux3jTf6pNdZ.Mv58N5u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AfPE0WOjvgw9sGJF7k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Mfs99UzcXne9_YwDp4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EGfjLGWL3epwrE6jw.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dPQrmc5Dh0.Epfnb1gH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liHrSfmdxlKmUnEI8iw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28OGsuZ9yvu7c1Q7K3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bx1zXoeQmfV8.7ZaUn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..mYFYoH.YG7I5hAY2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WR_axZlbe1ZH2wEaBXQ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ZbEQ0es72DnbxgdcKz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MlkxSGlD3rg91sAIOA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2ScjJswojkRx7ntniab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PpnVY9IeOFUxKwLtP1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1n3Aa8gXZRee1xTv.x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ku4xCL77wC8FdMOD.cd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nLpkAkjw3FK8y5LREx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DAH_QGM2vq.ZX4She1s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PcA8KI_6NBEdKIajbo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rMXT2382TCNJz3xm9f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1qVryqXddZnqUa3Dbp9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ZNey37J7OE9yXQm4I3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Hm0XoyCHWnfD2LOLczu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PHwY_n2zKTuVqbUe0L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XPmZFjCwzgNfYsqsN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wZah_kZTUGAHGQ9m1X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3yCg_rwZ_uUm3A3YDz7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pLL4PtZfvXXV8TCgqj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..X2m3ljMMT.9c45cm0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7O7QTR1EWobjbanOcNl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ITIDCiM2GeU6buKp.M5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jMXVp_iJROPDbZc9rQj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D6Ex.jQFR3ba9Jd8csM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_I.NkErJO9q272nfG5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F_16N_CsrMo.xT5Gju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an0.F7h8o.gLRW27C3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f6qSL8rH5jkl_3pP76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lZ0fjfIhKxQWOWmSZy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6vLX_UqJ_nel0XGCkF8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_r0dWaGeEi0_lGBdWyf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sTTFL6HBV0bNuYoVoO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Z1rw3tjzbO0bVAuAwX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1QACdCWYy3OetmGlRI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EhmjwblZ2m6_6sqhec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p_Bs11WpLNYOm3tVSt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qgdOcJdvpu85tLrf3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Tt96WvA5ljdzcTUD0F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fppDZmC5Nbo28ZhZVF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Y720CSedASYGQo2Io0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dd0va3CDQZIYm_uAg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SSNIoZri58E.LqLQsx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y5RFXMzZQDQvF_hVi_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Pi.saAByz1CWas69AF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_BJR.4OBPpAnSGPGli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Q_wa7AJJ7tCyDQqi4I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Q0nRRCZcLXfv_L73RB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IJuNgM3.jWPXQqAoV_g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zQO5.0tSxh1Xgju3U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vZvPA2do4u2x3BHbEEw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Ao9zOncMQdjzRUqjafD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5xRS.ruBqJMg7Ewo8Uw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fCvAJzfsusbmnMMZ2K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IjexDXKZr05vttHvD5w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WN7_3R9geqOd3JaznP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l9Eatfrtf4aOwAN7YCB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x2MD0vgeGsG0kAbqAFP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VITzQBtZ5nq6jWJ87Db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b2P.AAGdwO3pi1xy6Sl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bECRnmzV4Um36p_CsJ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o2bJEMiK1h2zCMgtTK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NswJnTFvTrdriv3rX_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Kzhy0PjAHxeIrDysDY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H_YKVYYcgYal3Q0LSz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vKMPLIa.KT52tAP_.xog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4BYQGnvw_pcXKRJ411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VXKonod5EAqODGjwu0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ufV._lNceIRyvwVIHcA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HHriCGHR74x3KH03z3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38OeT1cP4kJKqsJNi2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36YK0bk52jnXS5mXH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ZYrmjpH0.rzCoRpnxi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g1HVHEy6aFNudAfWag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bGIgMOCw0jOQ95rogF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9.br6zgcYUTTZS4Pjm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yuUAnNhG3eXqYXH6O2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0br0YENx37qEiQMrha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n9mNEle.fGyvII8Ryp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uQxJb2sRsQqB7W.WVX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YwPVa0GKjnQ46eJdDx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UdkprHbTRUqpg5zufd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_Phron_S08HhzJhvPnh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UVYm5zn1CrRt96reZzx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je90PBWmSUOq.W85U6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IiNaduYHxFlDl4yzOx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QwPcMvVQdgi3qtupz7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TXF_S.bcWFqaGEvzcD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pvx36kcswv0mjZhRRw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YtanByQJUuE_zAkNEcw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3370jklM8J.PQhIj0.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1Xws1afsTRjimqbublQ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7zMxHPzIrPgiGdJWZq4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ZuGK7EWsn3bxLYf7Le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ztlc5_LntEkrsc4w1W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RyEOmw81Okq6AtF0l1z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_hQj_6KZy58xrdVZKp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Mu9bvBflnOfECa5Qo_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iKMgZrta3nxIhXeJznS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PKQQo0KcwDc3IGwEdkA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3bpD7oRqMwkWlVY0rU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ZTWoCjo8Hz_Dl7LOkIX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HVWD46nrkY3WVamSido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5_DcLbh2WTZLVDoCeI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bJJIPy0tkTbfj5OBBb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ddoRgYKU0C0K887.WN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_EkYjCO_r_SzkH7wcil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iUVzvnMD9e7zc8Td3vv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3gRa3yolWDkZAebNWq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4HsqOEA1NUBozxnfMV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QpwUlwMRfcp21lVOz0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lhtiAi3Nn5XCxABSL.T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XRrNE7vFbje2mTfUJb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3WJ_9tD4j2CHt._lSD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BF1_8NXaUqynOR4aRo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auVBQCytNbOxN6QfC4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fBvHw_QCTaXhGglnTHg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mQk2mn0_TD.LWN4GFW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8QUGfalj6XQ349jDpkq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EiRDRgkHw2hLEAzM1F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lGVMFXLkCI0hBqbhE0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zCRvvJZWonCHDK6y0h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6_DDL9VqF1bbV39CqmR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GS8Quo57LwDKx6G4eQ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oWBg7l.jk6m.nrdPMI3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ej49A.b6zqTY30w33J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..CYWVT0Y7QBrT4viI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HOUXTmceZwwia4qk44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ScB4V9ys6D9HD1E1b_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pBW1Qc9MQrbgOMnKZdg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VOmf4FrY6GR5HhPflhm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pJwtvIczO13I5wlunU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emHs0gvKRSu0Q0v_xK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lcY.C8PTDouMnfz12t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c3rpzyXb_.A2Dlpvjd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ccd2Mb441MyVvBwG1z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RRYlEcedZxZWH2QVxe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SHqVEY66iuY.BFZe.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YVJzQAMWgIirCnPk0d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KXokOpHfiq2FNVeAZQ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RJQekTy3GVWWsfghvP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BTD1ok3J7cntflmos_W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a2bC6m3AZQHpDcfFrn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bSRJ.PNLCKKPZ3eDTI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0LgjY6nbI7VngjCNtt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rfGRkKYiqwcnEy6PsvO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WJk..30N40fcA7EIpi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NleOqEFzheb38VzKkEv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OJGN4EEN31Sys9VJaJQ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183</TotalTime>
  <Words>1515</Words>
  <Application>Microsoft Macintosh PowerPoint</Application>
  <PresentationFormat>自定义</PresentationFormat>
  <Paragraphs>1172</Paragraphs>
  <Slides>12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9" baseType="lpstr">
      <vt:lpstr>等线</vt:lpstr>
      <vt:lpstr>Yuanti SC</vt:lpstr>
      <vt:lpstr>Arial</vt:lpstr>
      <vt:lpstr>Calibri</vt:lpstr>
      <vt:lpstr>Calibri Light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黄文武</dc:creator>
  <cp:lastModifiedBy>黄文武</cp:lastModifiedBy>
  <cp:revision>22</cp:revision>
  <cp:lastPrinted>2026-05-18T11:33:27Z</cp:lastPrinted>
  <dcterms:created xsi:type="dcterms:W3CDTF">2026-05-18T11:32:30Z</dcterms:created>
  <dcterms:modified xsi:type="dcterms:W3CDTF">2026-05-19T08:18:50Z</dcterms:modified>
</cp:coreProperties>
</file>